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63" r:id="rId3"/>
  </p:sldMasterIdLst>
  <p:notesMasterIdLst>
    <p:notesMasterId r:id="rId14"/>
  </p:notesMasterIdLst>
  <p:handoutMasterIdLst>
    <p:handoutMasterId r:id="rId15"/>
  </p:handoutMasterIdLst>
  <p:sldIdLst>
    <p:sldId id="1554" r:id="rId4"/>
    <p:sldId id="1546" r:id="rId5"/>
    <p:sldId id="1567" r:id="rId6"/>
    <p:sldId id="1545" r:id="rId7"/>
    <p:sldId id="1565" r:id="rId8"/>
    <p:sldId id="1559" r:id="rId9"/>
    <p:sldId id="1535" r:id="rId10"/>
    <p:sldId id="1561" r:id="rId11"/>
    <p:sldId id="290" r:id="rId12"/>
    <p:sldId id="1569" r:id="rId13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13B87F8-4475-4FA4-8675-3B055BE3DD17}">
          <p14:sldIdLst>
            <p14:sldId id="1554"/>
            <p14:sldId id="1546"/>
            <p14:sldId id="1567"/>
            <p14:sldId id="1545"/>
            <p14:sldId id="1565"/>
            <p14:sldId id="1559"/>
            <p14:sldId id="1535"/>
            <p14:sldId id="1561"/>
            <p14:sldId id="290"/>
            <p14:sldId id="156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 userDrawn="1">
          <p15:clr>
            <a:srgbClr val="A4A3A4"/>
          </p15:clr>
        </p15:guide>
        <p15:guide id="2" pos="2130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сия Жумаканова" initials="АЖ" lastIdx="0" clrIdx="0">
    <p:extLst>
      <p:ext uri="{19B8F6BF-5375-455C-9EA6-DF929625EA0E}">
        <p15:presenceInfo xmlns:p15="http://schemas.microsoft.com/office/powerpoint/2012/main" userId="S-1-5-21-898840895-3345972363-1714068643-2135" providerId="AD"/>
      </p:ext>
    </p:extLst>
  </p:cmAuthor>
  <p:cmAuthor id="2" name="Алихан Ержанов" initials="АЕ" lastIdx="0" clrIdx="1">
    <p:extLst>
      <p:ext uri="{19B8F6BF-5375-455C-9EA6-DF929625EA0E}">
        <p15:presenceInfo xmlns:p15="http://schemas.microsoft.com/office/powerpoint/2012/main" userId="S-1-5-21-898840895-3345972363-1714068643-4658" providerId="AD"/>
      </p:ext>
    </p:extLst>
  </p:cmAuthor>
  <p:cmAuthor id="3" name="Нурмади Алибаев" initials="НА" lastIdx="1" clrIdx="2">
    <p:extLst>
      <p:ext uri="{19B8F6BF-5375-455C-9EA6-DF929625EA0E}">
        <p15:presenceInfo xmlns:p15="http://schemas.microsoft.com/office/powerpoint/2012/main" userId="S-1-5-21-898840895-3345972363-1714068643-7495" providerId="AD"/>
      </p:ext>
    </p:extLst>
  </p:cmAuthor>
  <p:cmAuthor id="4" name="Мадина Ержанова" initials="МЕ" lastIdx="108" clrIdx="3">
    <p:extLst>
      <p:ext uri="{19B8F6BF-5375-455C-9EA6-DF929625EA0E}">
        <p15:presenceInfo xmlns:p15="http://schemas.microsoft.com/office/powerpoint/2012/main" userId="S-1-5-21-898840895-3345972363-1714068643-49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CF7F"/>
    <a:srgbClr val="AE8705"/>
    <a:srgbClr val="B5922E"/>
    <a:srgbClr val="B4975A"/>
    <a:srgbClr val="C0A000"/>
    <a:srgbClr val="406D69"/>
    <a:srgbClr val="007A40"/>
    <a:srgbClr val="F1EBDF"/>
    <a:srgbClr val="257E3E"/>
    <a:srgbClr val="3F79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93023" autoAdjust="0"/>
  </p:normalViewPr>
  <p:slideViewPr>
    <p:cSldViewPr>
      <p:cViewPr varScale="1">
        <p:scale>
          <a:sx n="107" d="100"/>
          <a:sy n="107" d="100"/>
        </p:scale>
        <p:origin x="546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78" y="108"/>
      </p:cViewPr>
      <p:guideLst>
        <p:guide orient="horz" pos="3130"/>
        <p:guide pos="2130"/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TORAGE\monitor\1.%20&#1055;&#1080;&#1089;&#1100;&#1084;&#1072;%20&#1041;&#1056;&#1050;%20+%20&#1080;&#1085;&#1092;&#1086;&#1088;&#1084;&#1072;&#1094;&#1080;&#1103;\+2023\05.02%20-%20&#1048;&#1090;&#1086;&#1075;&#1080;%202022%20&#1075;&#1086;&#1076;&#1072;%20&#1057;&#1077;&#1085;&#1072;&#1090;\2022.11.14%20-%20&#1076;&#1080;&#1072;&#1075;&#1088;&#1072;&#1084;&#1084;&#1099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8763907069161111"/>
          <c:y val="3.0947804857316914E-2"/>
          <c:w val="0.41773311584133821"/>
          <c:h val="0.8974863408621901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AE870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956-458C-81F6-5CD976896960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956-458C-81F6-5CD976896960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956-458C-81F6-5CD976896960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B956-458C-81F6-5CD976896960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A93-4261-B576-593CE6FADEA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A93-4261-B576-593CE6FADEAA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A93-4261-B576-593CE6FADEAA}"/>
              </c:ext>
            </c:extLst>
          </c:dPt>
          <c:dLbls>
            <c:dLbl>
              <c:idx val="11"/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A93-4261-B576-593CE6FADEAA}"/>
                </c:ext>
              </c:extLst>
            </c:dLbl>
            <c:spPr>
              <a:noFill/>
              <a:ln w="25400">
                <a:noFill/>
              </a:ln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КП отрасли'!$A$56:$A$66</c:f>
              <c:strCache>
                <c:ptCount val="11"/>
                <c:pt idx="0">
                  <c:v>Строительные материалы</c:v>
                </c:pt>
                <c:pt idx="1">
                  <c:v>Информация и связь</c:v>
                </c:pt>
                <c:pt idx="2">
                  <c:v>Химическая промышленность</c:v>
                </c:pt>
                <c:pt idx="3">
                  <c:v>Туриская инфраструктура</c:v>
                </c:pt>
                <c:pt idx="4">
                  <c:v>Транспорт и складирование</c:v>
                </c:pt>
                <c:pt idx="5">
                  <c:v>Машиностроение</c:v>
                </c:pt>
                <c:pt idx="6">
                  <c:v>Продукты питания</c:v>
                </c:pt>
                <c:pt idx="7">
                  <c:v>Электроснабжение</c:v>
                </c:pt>
                <c:pt idx="8">
                  <c:v>ГМК</c:v>
                </c:pt>
                <c:pt idx="9">
                  <c:v>Нефтепереработка</c:v>
                </c:pt>
                <c:pt idx="10">
                  <c:v>Металлургия</c:v>
                </c:pt>
              </c:strCache>
            </c:strRef>
          </c:cat>
          <c:val>
            <c:numRef>
              <c:f>'КП отрасли'!$C$56:$C$66</c:f>
              <c:numCache>
                <c:formatCode>0.0%</c:formatCode>
                <c:ptCount val="11"/>
                <c:pt idx="0">
                  <c:v>1.4924500726267326E-2</c:v>
                </c:pt>
                <c:pt idx="1">
                  <c:v>2.2352872838555856E-2</c:v>
                </c:pt>
                <c:pt idx="2">
                  <c:v>2.2925473671123596E-2</c:v>
                </c:pt>
                <c:pt idx="3">
                  <c:v>2.7340686895531107E-2</c:v>
                </c:pt>
                <c:pt idx="4">
                  <c:v>3.3768222903343068E-2</c:v>
                </c:pt>
                <c:pt idx="5">
                  <c:v>6.662095915374891E-2</c:v>
                </c:pt>
                <c:pt idx="6">
                  <c:v>6.9628593788867585E-2</c:v>
                </c:pt>
                <c:pt idx="7">
                  <c:v>9.7651146851472706E-2</c:v>
                </c:pt>
                <c:pt idx="8">
                  <c:v>0.16436778193720775</c:v>
                </c:pt>
                <c:pt idx="9">
                  <c:v>0.22599859524807406</c:v>
                </c:pt>
                <c:pt idx="10">
                  <c:v>0.252748295317250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93-4261-B576-593CE6FADE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axId val="421440424"/>
        <c:axId val="421443168"/>
      </c:barChart>
      <c:catAx>
        <c:axId val="4214404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ru-RU"/>
          </a:p>
        </c:txPr>
        <c:crossAx val="421443168"/>
        <c:crosses val="autoZero"/>
        <c:auto val="1"/>
        <c:lblAlgn val="ctr"/>
        <c:lblOffset val="100"/>
        <c:noMultiLvlLbl val="0"/>
      </c:catAx>
      <c:valAx>
        <c:axId val="421443168"/>
        <c:scaling>
          <c:orientation val="minMax"/>
        </c:scaling>
        <c:delete val="0"/>
        <c:axPos val="b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4214404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6350">
      <a:noFill/>
    </a:ln>
  </c:spPr>
  <c:txPr>
    <a:bodyPr/>
    <a:lstStyle/>
    <a:p>
      <a:pPr>
        <a:defRPr sz="1050">
          <a:solidFill>
            <a:sysClr val="windowText" lastClr="000000"/>
          </a:solidFill>
          <a:latin typeface="Arial Narrow" panose="020B0606020202030204" pitchFamily="34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075552103800623"/>
          <c:y val="0.23694587658222746"/>
          <c:w val="0.61306841305566984"/>
          <c:h val="0.5934312243263951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007A4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D56-41C2-A385-F0D52DEDC38E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D56-41C2-A385-F0D52DEDC38E}"/>
              </c:ext>
            </c:extLst>
          </c:dPt>
          <c:dPt>
            <c:idx val="2"/>
            <c:bubble3D val="0"/>
            <c:spPr>
              <a:solidFill>
                <a:srgbClr val="B4975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D56-41C2-A385-F0D52DEDC38E}"/>
              </c:ext>
            </c:extLst>
          </c:dPt>
          <c:dLbls>
            <c:dLbl>
              <c:idx val="0"/>
              <c:layout>
                <c:manualLayout>
                  <c:x val="0.17526445342701416"/>
                  <c:y val="-0.100545047843015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D56-41C2-A385-F0D52DEDC38E}"/>
                </c:ext>
              </c:extLst>
            </c:dLbl>
            <c:dLbl>
              <c:idx val="1"/>
              <c:layout>
                <c:manualLayout>
                  <c:x val="0.19236342449306415"/>
                  <c:y val="2.513626196075378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D56-41C2-A385-F0D52DEDC38E}"/>
                </c:ext>
              </c:extLst>
            </c:dLbl>
            <c:dLbl>
              <c:idx val="2"/>
              <c:layout>
                <c:manualLayout>
                  <c:x val="6.0480106636895598E-2"/>
                  <c:y val="-0.172624026409777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D56-41C2-A385-F0D52DEDC3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НФ</c:v>
                </c:pt>
                <c:pt idx="1">
                  <c:v>РБ</c:v>
                </c:pt>
                <c:pt idx="2">
                  <c:v>Рыночные и собственные средства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8.2</c:v>
                </c:pt>
                <c:pt idx="1">
                  <c:v>118.9</c:v>
                </c:pt>
                <c:pt idx="2" formatCode="#,##0">
                  <c:v>158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D56-41C2-A385-F0D52DEDC3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60"/>
        <c:holeSize val="4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278526331998768E-2"/>
          <c:y val="0.63879882262768384"/>
          <c:w val="0.96709462580843852"/>
          <c:h val="0.334279757910370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188548288389868"/>
          <c:y val="0"/>
          <c:w val="0.72425710598640602"/>
          <c:h val="0.648252759379252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884-401E-AF7C-29C617993EA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884-401E-AF7C-29C617993EAF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884-401E-AF7C-29C617993EAF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884-401E-AF7C-29C617993EAF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884-401E-AF7C-29C617993EAF}"/>
              </c:ext>
            </c:extLst>
          </c:dPt>
          <c:dPt>
            <c:idx val="5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F884-401E-AF7C-29C617993EAF}"/>
              </c:ext>
            </c:extLst>
          </c:dPt>
          <c:dPt>
            <c:idx val="6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F884-401E-AF7C-29C617993EAF}"/>
              </c:ext>
            </c:extLst>
          </c:dPt>
          <c:dPt>
            <c:idx val="7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F884-401E-AF7C-29C617993EAF}"/>
              </c:ext>
            </c:extLst>
          </c:dPt>
          <c:dPt>
            <c:idx val="8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F884-401E-AF7C-29C617993EAF}"/>
              </c:ext>
            </c:extLst>
          </c:dPt>
          <c:dPt>
            <c:idx val="9"/>
            <c:bubble3D val="0"/>
            <c:spPr>
              <a:solidFill>
                <a:schemeClr val="accent2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F884-401E-AF7C-29C617993EAF}"/>
              </c:ext>
            </c:extLst>
          </c:dPt>
          <c:dPt>
            <c:idx val="10"/>
            <c:bubble3D val="0"/>
            <c:spPr>
              <a:solidFill>
                <a:schemeClr val="accent4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F884-401E-AF7C-29C617993EAF}"/>
              </c:ext>
            </c:extLst>
          </c:dPt>
          <c:dPt>
            <c:idx val="11"/>
            <c:bubble3D val="0"/>
            <c:spPr>
              <a:solidFill>
                <a:schemeClr val="accent6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F884-401E-AF7C-29C617993EAF}"/>
              </c:ext>
            </c:extLst>
          </c:dPt>
          <c:dPt>
            <c:idx val="1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F884-401E-AF7C-29C617993EAF}"/>
              </c:ext>
            </c:extLst>
          </c:dPt>
          <c:dPt>
            <c:idx val="13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92-41CA-9F08-CDF8E16DEBE3}"/>
              </c:ext>
            </c:extLst>
          </c:dPt>
          <c:dPt>
            <c:idx val="14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F884-401E-AF7C-29C617993EAF}"/>
              </c:ext>
            </c:extLst>
          </c:dPt>
          <c:dPt>
            <c:idx val="15"/>
            <c:bubble3D val="0"/>
            <c:spPr>
              <a:solidFill>
                <a:schemeClr val="accent2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F884-401E-AF7C-29C617993E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Arial Narrow" panose="020B060602020203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7</c:f>
              <c:strCache>
                <c:ptCount val="16"/>
                <c:pt idx="0">
                  <c:v>Область Абай</c:v>
                </c:pt>
                <c:pt idx="1">
                  <c:v>г.Шымкент</c:v>
                </c:pt>
                <c:pt idx="2">
                  <c:v>Павлодарская область</c:v>
                </c:pt>
                <c:pt idx="3">
                  <c:v>Акмолинская область</c:v>
                </c:pt>
                <c:pt idx="4">
                  <c:v>Атырауская область</c:v>
                </c:pt>
                <c:pt idx="5">
                  <c:v>Актюбинская область</c:v>
                </c:pt>
                <c:pt idx="6">
                  <c:v>Восточно-Казахстанская область</c:v>
                </c:pt>
                <c:pt idx="7">
                  <c:v>Карагандинская область</c:v>
                </c:pt>
                <c:pt idx="8">
                  <c:v>Область Ұлытау</c:v>
                </c:pt>
                <c:pt idx="9">
                  <c:v>г.Астана</c:v>
                </c:pt>
                <c:pt idx="10">
                  <c:v>Мангистауская область</c:v>
                </c:pt>
                <c:pt idx="11">
                  <c:v>г.Алматы</c:v>
                </c:pt>
                <c:pt idx="12">
                  <c:v>Жамбылская область</c:v>
                </c:pt>
                <c:pt idx="13">
                  <c:v>Межрегиональный</c:v>
                </c:pt>
                <c:pt idx="14">
                  <c:v>Костанайская область</c:v>
                </c:pt>
                <c:pt idx="15">
                  <c:v>Прочие регионы</c:v>
                </c:pt>
              </c:strCache>
            </c:strRef>
          </c:cat>
          <c:val>
            <c:numRef>
              <c:f>Лист1!$B$2:$B$17</c:f>
              <c:numCache>
                <c:formatCode>0%</c:formatCode>
                <c:ptCount val="16"/>
                <c:pt idx="0">
                  <c:v>0.21</c:v>
                </c:pt>
                <c:pt idx="1">
                  <c:v>0.16</c:v>
                </c:pt>
                <c:pt idx="2">
                  <c:v>0.14000000000000001</c:v>
                </c:pt>
                <c:pt idx="3">
                  <c:v>0.08</c:v>
                </c:pt>
                <c:pt idx="4">
                  <c:v>0.06</c:v>
                </c:pt>
                <c:pt idx="5">
                  <c:v>0.04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  <c:pt idx="9">
                  <c:v>0.03</c:v>
                </c:pt>
                <c:pt idx="10">
                  <c:v>0.03</c:v>
                </c:pt>
                <c:pt idx="11">
                  <c:v>0.03</c:v>
                </c:pt>
                <c:pt idx="12">
                  <c:v>0.02</c:v>
                </c:pt>
                <c:pt idx="13">
                  <c:v>0.02</c:v>
                </c:pt>
                <c:pt idx="14">
                  <c:v>0.02</c:v>
                </c:pt>
                <c:pt idx="15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92-41CA-9F08-CDF8E16DEB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652268777851134"/>
          <c:y val="0.66835889150183903"/>
          <c:w val="0.86332740991108614"/>
          <c:h val="0.331641108498160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ru-RU" sz="1200" b="1" i="0" u="none" strike="noStrike" kern="1200" cap="all" spc="15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r>
              <a:rPr lang="ru-RU" sz="1200" b="1" i="0" u="none" strike="noStrike" kern="1200" cap="all" baseline="0" dirty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ъем одобренных/профинансированных проектов ВИЭ (млн. тенге)</a:t>
            </a:r>
          </a:p>
        </c:rich>
      </c:tx>
      <c:layout>
        <c:manualLayout>
          <c:xMode val="edge"/>
          <c:yMode val="edge"/>
          <c:x val="0.16324141067659148"/>
          <c:y val="7.572518783876089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200" b="1" i="0" u="none" strike="noStrike" kern="1200" cap="all" spc="150" baseline="0" dirty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37711318875196653"/>
          <c:y val="0.23310216606621012"/>
          <c:w val="0.54223228669036772"/>
          <c:h val="0.6627600405510498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AE8705"/>
            </a:solidFill>
            <a:ln>
              <a:solidFill>
                <a:srgbClr val="AE8705"/>
              </a:solidFill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dLbl>
              <c:idx val="1"/>
              <c:layout>
                <c:manualLayout>
                  <c:x val="-3.782294383615883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F29-42F3-8745-02681F4AE620}"/>
                </c:ext>
              </c:extLst>
            </c:dLbl>
            <c:dLbl>
              <c:idx val="2"/>
              <c:layout>
                <c:manualLayout>
                  <c:x val="6.551843276536804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29-42F3-8745-02681F4AE620}"/>
                </c:ext>
              </c:extLst>
            </c:dLbl>
            <c:dLbl>
              <c:idx val="3"/>
              <c:layout>
                <c:manualLayout>
                  <c:x val="1.191517935099337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29-42F3-8745-02681F4AE620}"/>
                </c:ext>
              </c:extLst>
            </c:dLbl>
            <c:dLbl>
              <c:idx val="4"/>
              <c:layout>
                <c:manualLayout>
                  <c:x val="2.6056673712866879E-3"/>
                  <c:y val="6.60078778464616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29-42F3-8745-02681F4AE620}"/>
                </c:ext>
              </c:extLst>
            </c:dLbl>
            <c:dLbl>
              <c:idx val="5"/>
              <c:layout>
                <c:manualLayout>
                  <c:x val="-3.782294383615883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29-42F3-8745-02681F4AE620}"/>
                </c:ext>
              </c:extLst>
            </c:dLbl>
            <c:dLbl>
              <c:idx val="6"/>
              <c:layout>
                <c:manualLayout>
                  <c:x val="1.6703872274615304E-2"/>
                  <c:y val="7.20094258637445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F29-42F3-8745-02681F4AE620}"/>
                </c:ext>
              </c:extLst>
            </c:dLbl>
            <c:dLbl>
              <c:idx val="7"/>
              <c:layout>
                <c:manualLayout>
                  <c:x val="5.2149150737311484E-3"/>
                  <c:y val="-1.44018851727489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F29-42F3-8745-02681F4AE620}"/>
                </c:ext>
              </c:extLst>
            </c:dLbl>
            <c:dLbl>
              <c:idx val="8"/>
              <c:layout>
                <c:manualLayout>
                  <c:x val="-1.7999301184454917E-4"/>
                  <c:y val="-3.60047129318722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F29-42F3-8745-02681F4AE620}"/>
                </c:ext>
              </c:extLst>
            </c:dLbl>
            <c:dLbl>
              <c:idx val="9"/>
              <c:layout>
                <c:manualLayout>
                  <c:x val="-1.7154668515853462E-3"/>
                  <c:y val="-3.30039389232308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F29-42F3-8745-02681F4AE62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E$5:$E$14</c:f>
              <c:strCache>
                <c:ptCount val="10"/>
                <c:pt idx="1">
                  <c:v>ТОО "KazGreenEnergy"</c:v>
                </c:pt>
                <c:pt idx="2">
                  <c:v>TOO "Жел Электрик"</c:v>
                </c:pt>
                <c:pt idx="3">
                  <c:v>ТОО "Bascan Power"</c:v>
                </c:pt>
                <c:pt idx="4">
                  <c:v>ТОО "Тургусун-1"</c:v>
                </c:pt>
                <c:pt idx="5">
                  <c:v>ТОО "ЦАТЭК Green Energy"</c:v>
                </c:pt>
                <c:pt idx="6">
                  <c:v>ТОО "EcoProTech-Astana"</c:v>
                </c:pt>
                <c:pt idx="7">
                  <c:v>ТОО "ENEVERSE KUNKUAT"</c:v>
                </c:pt>
                <c:pt idx="8">
                  <c:v>ТОО "MISTRAL ENERGY"</c:v>
                </c:pt>
                <c:pt idx="9">
                  <c:v>ТОО "Абай-1", ТОО "АБАЙ-2"</c:v>
                </c:pt>
              </c:strCache>
            </c:strRef>
          </c:cat>
          <c:val>
            <c:numRef>
              <c:f>Лист1!$F$5:$F$14</c:f>
              <c:numCache>
                <c:formatCode>_(* #,##0.00_);_(* \(#,##0.00\);_(* "-"??_);_(@_)</c:formatCode>
                <c:ptCount val="10"/>
                <c:pt idx="1">
                  <c:v>16950</c:v>
                </c:pt>
                <c:pt idx="2">
                  <c:v>16896</c:v>
                </c:pt>
                <c:pt idx="3">
                  <c:v>7000</c:v>
                </c:pt>
                <c:pt idx="4">
                  <c:v>5000</c:v>
                </c:pt>
                <c:pt idx="5">
                  <c:v>40350</c:v>
                </c:pt>
                <c:pt idx="6">
                  <c:v>9050</c:v>
                </c:pt>
                <c:pt idx="7">
                  <c:v>10800</c:v>
                </c:pt>
                <c:pt idx="8">
                  <c:v>10695.999240620002</c:v>
                </c:pt>
                <c:pt idx="9">
                  <c:v>57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F29-42F3-8745-02681F4AE62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1313462816"/>
        <c:axId val="1313463648"/>
      </c:barChart>
      <c:catAx>
        <c:axId val="1313462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13463648"/>
        <c:crosses val="autoZero"/>
        <c:auto val="1"/>
        <c:lblAlgn val="ctr"/>
        <c:lblOffset val="100"/>
        <c:noMultiLvlLbl val="0"/>
      </c:catAx>
      <c:valAx>
        <c:axId val="1313463648"/>
        <c:scaling>
          <c:orientation val="minMax"/>
        </c:scaling>
        <c:delete val="1"/>
        <c:axPos val="b"/>
        <c:numFmt formatCode="_(* #,##0.00_);_(* \(#,##0.00\);_(* &quot;-&quot;??_);_(@_)" sourceLinked="1"/>
        <c:majorTickMark val="none"/>
        <c:minorTickMark val="none"/>
        <c:tickLblPos val="nextTo"/>
        <c:crossAx val="1313462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ИЭ в портфеле БРК (МВт)</a:t>
            </a:r>
          </a:p>
        </c:rich>
      </c:tx>
      <c:layout>
        <c:manualLayout>
          <c:xMode val="edge"/>
          <c:yMode val="edge"/>
          <c:x val="0.30086359570827254"/>
          <c:y val="1.66945632316469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9427702775886283"/>
          <c:y val="0.28119789056916844"/>
          <c:w val="0.41144594448227423"/>
          <c:h val="0.71880210943083156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shade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A0E-4E6C-8360-A3C59F853E9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2A0E-4E6C-8360-A3C59F853E96}"/>
              </c:ext>
            </c:extLst>
          </c:dPt>
          <c:dPt>
            <c:idx val="2"/>
            <c:bubble3D val="0"/>
            <c:spPr>
              <a:solidFill>
                <a:schemeClr val="accent6">
                  <a:tint val="6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2A0E-4E6C-8360-A3C59F853E96}"/>
              </c:ext>
            </c:extLst>
          </c:dPt>
          <c:dLbls>
            <c:dLbl>
              <c:idx val="0"/>
              <c:layout>
                <c:manualLayout>
                  <c:x val="0.17475615172706793"/>
                  <c:y val="0.1427650254115068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ГЭС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  <a:latin typeface="Arial Narrow" panose="020B060602020203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40 МВт</a:t>
                    </a:r>
                    <a:r>
                      <a:rPr lang="ru-RU" baseline="0" dirty="0">
                        <a:latin typeface="Arial Narrow" panose="020B0606020202030204" pitchFamily="34" charset="0"/>
                      </a:rPr>
                      <a:t>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A0E-4E6C-8360-A3C59F853E96}"/>
                </c:ext>
              </c:extLst>
            </c:dLbl>
            <c:dLbl>
              <c:idx val="1"/>
              <c:layout>
                <c:manualLayout>
                  <c:x val="4.4785630982857365E-2"/>
                  <c:y val="1.86288464900906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dirty="0">
                        <a:latin typeface="Arial Narrow" panose="020B0606020202030204" pitchFamily="34" charset="0"/>
                      </a:rPr>
                      <a:t>СЭС 220 МВт</a:t>
                    </a:r>
                    <a:r>
                      <a:rPr lang="ru-RU" baseline="0" dirty="0">
                        <a:latin typeface="Arial Narrow" panose="020B0606020202030204" pitchFamily="34" charset="0"/>
                      </a:rPr>
                      <a:t>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A0E-4E6C-8360-A3C59F853E96}"/>
                </c:ext>
              </c:extLst>
            </c:dLbl>
            <c:dLbl>
              <c:idx val="2"/>
              <c:layout>
                <c:manualLayout>
                  <c:x val="-3.9431989406876401E-2"/>
                  <c:y val="4.94519561590886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ВЭС </a:t>
                    </a:r>
                  </a:p>
                  <a:p>
                    <a:pPr>
                      <a:defRPr>
                        <a:solidFill>
                          <a:schemeClr val="tx1"/>
                        </a:solidFill>
                        <a:latin typeface="Arial Narrow" panose="020B0606020202030204" pitchFamily="34" charset="0"/>
                      </a:defRPr>
                    </a:pPr>
                    <a:r>
                      <a:rPr lang="ru-RU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rPr>
                      <a:t>300 МВТ
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tx1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A0E-4E6C-8360-A3C59F853E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spc="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L$5:$L$7</c:f>
              <c:strCache>
                <c:ptCount val="3"/>
                <c:pt idx="0">
                  <c:v>ГЭС (2 ед)</c:v>
                </c:pt>
                <c:pt idx="1">
                  <c:v>СЭС (4 ед)</c:v>
                </c:pt>
                <c:pt idx="2">
                  <c:v>ВЭС (3 ед)</c:v>
                </c:pt>
              </c:strCache>
            </c:strRef>
          </c:cat>
          <c:val>
            <c:numRef>
              <c:f>Лист1!$M$5:$M$7</c:f>
              <c:numCache>
                <c:formatCode>_(* #,##0.00_);_(* \(#,##0.00\);_(* "-"??_);_(@_)</c:formatCode>
                <c:ptCount val="3"/>
                <c:pt idx="0">
                  <c:v>40</c:v>
                </c:pt>
                <c:pt idx="1">
                  <c:v>220</c:v>
                </c:pt>
                <c:pt idx="2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0E-4E6C-8360-A3C59F853E96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b="1" dirty="0">
                <a:solidFill>
                  <a:schemeClr val="tx1"/>
                </a:solidFill>
              </a:rPr>
              <a:t>Импорт/экспорт семян подсолнечника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4682108889662629"/>
          <c:y val="0.23514006985993277"/>
          <c:w val="0.81594165185361656"/>
          <c:h val="0.50069114349550925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5</c:f>
              <c:strCache>
                <c:ptCount val="1"/>
                <c:pt idx="0">
                  <c:v>Экспорт семян подсолнечника, тонн</c:v>
                </c:pt>
              </c:strCache>
            </c:strRef>
          </c:tx>
          <c:spPr>
            <a:ln w="22225" cap="rnd">
              <a:solidFill>
                <a:srgbClr val="B48F0C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B48F0C"/>
              </a:solidFill>
              <a:ln w="9525">
                <a:solidFill>
                  <a:srgbClr val="B48F0C"/>
                </a:solidFill>
              </a:ln>
              <a:effectLst/>
            </c:spPr>
          </c:marker>
          <c:cat>
            <c:numRef>
              <c:f>Лист1!$C$4:$J$4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5:$J$5</c:f>
              <c:numCache>
                <c:formatCode>_-* #\ ##0_-;\-* #\ ##0_-;_-* "-"??_-;_-@_-</c:formatCode>
                <c:ptCount val="8"/>
                <c:pt idx="0">
                  <c:v>153746</c:v>
                </c:pt>
                <c:pt idx="1">
                  <c:v>179652.73480000001</c:v>
                </c:pt>
                <c:pt idx="2">
                  <c:v>311516.21299999999</c:v>
                </c:pt>
                <c:pt idx="3">
                  <c:v>331529.38274999999</c:v>
                </c:pt>
                <c:pt idx="4">
                  <c:v>536835.97455000004</c:v>
                </c:pt>
                <c:pt idx="5">
                  <c:v>256390.81749999998</c:v>
                </c:pt>
                <c:pt idx="6">
                  <c:v>145917.18899999998</c:v>
                </c:pt>
                <c:pt idx="7">
                  <c:v>34678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77D-4F00-A160-502F732E77FE}"/>
            </c:ext>
          </c:extLst>
        </c:ser>
        <c:ser>
          <c:idx val="1"/>
          <c:order val="1"/>
          <c:tx>
            <c:strRef>
              <c:f>Лист1!$B$6</c:f>
              <c:strCache>
                <c:ptCount val="1"/>
                <c:pt idx="0">
                  <c:v>Импорт семян подсолнечника, тонн</c:v>
                </c:pt>
              </c:strCache>
            </c:strRef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Лист1!$C$4:$J$4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6:$J$6</c:f>
              <c:numCache>
                <c:formatCode>_-* #\ ##0_-;\-* #\ ##0_-;_-* "-"??_-;_-@_-</c:formatCode>
                <c:ptCount val="8"/>
                <c:pt idx="0">
                  <c:v>4586.2517600000001</c:v>
                </c:pt>
                <c:pt idx="1">
                  <c:v>23863.085940000001</c:v>
                </c:pt>
                <c:pt idx="2">
                  <c:v>9432.2288000000008</c:v>
                </c:pt>
                <c:pt idx="3">
                  <c:v>28072.6</c:v>
                </c:pt>
                <c:pt idx="4">
                  <c:v>98843.259180000037</c:v>
                </c:pt>
                <c:pt idx="5">
                  <c:v>91257.327660000039</c:v>
                </c:pt>
                <c:pt idx="6">
                  <c:v>52175.834569999999</c:v>
                </c:pt>
                <c:pt idx="7">
                  <c:v>214668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77D-4F00-A160-502F732E77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3256335"/>
        <c:axId val="263252495"/>
      </c:lineChart>
      <c:catAx>
        <c:axId val="263256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63252495"/>
        <c:crosses val="autoZero"/>
        <c:auto val="1"/>
        <c:lblAlgn val="ctr"/>
        <c:lblOffset val="100"/>
        <c:noMultiLvlLbl val="0"/>
      </c:catAx>
      <c:valAx>
        <c:axId val="263252495"/>
        <c:scaling>
          <c:orientation val="minMax"/>
        </c:scaling>
        <c:delete val="0"/>
        <c:axPos val="l"/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632563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zero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b="1" dirty="0">
                <a:solidFill>
                  <a:schemeClr val="tx1"/>
                </a:solidFill>
              </a:rPr>
              <a:t>Импорт/экспорт подсолнечного масла*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468935467730213"/>
          <c:y val="0.19169891563919941"/>
          <c:w val="0.86979941636443991"/>
          <c:h val="0.5979221127140832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8</c:f>
              <c:strCache>
                <c:ptCount val="1"/>
                <c:pt idx="0">
                  <c:v>Экспорт подсолнечного масла, тонн</c:v>
                </c:pt>
              </c:strCache>
            </c:strRef>
          </c:tx>
          <c:spPr>
            <a:ln w="22225" cap="rnd">
              <a:solidFill>
                <a:srgbClr val="B48F0C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rgbClr val="B48F0C"/>
              </a:solidFill>
              <a:ln w="9525">
                <a:solidFill>
                  <a:srgbClr val="B48F0C"/>
                </a:solidFill>
              </a:ln>
              <a:effectLst/>
            </c:spPr>
          </c:marker>
          <c:cat>
            <c:numRef>
              <c:f>Лист1!$C$7:$J$7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8:$J$8</c:f>
              <c:numCache>
                <c:formatCode>_-* #\ ##0_-;\-* #\ ##0_-;_-* "-"??_-;_-@_-</c:formatCode>
                <c:ptCount val="8"/>
                <c:pt idx="0">
                  <c:v>29363.638009999999</c:v>
                </c:pt>
                <c:pt idx="1">
                  <c:v>32379.150809999999</c:v>
                </c:pt>
                <c:pt idx="2">
                  <c:v>32379.150809999999</c:v>
                </c:pt>
                <c:pt idx="3">
                  <c:v>87690.916989999998</c:v>
                </c:pt>
                <c:pt idx="4">
                  <c:v>105986.81522</c:v>
                </c:pt>
                <c:pt idx="5">
                  <c:v>127748.59805000003</c:v>
                </c:pt>
                <c:pt idx="6">
                  <c:v>96895.41635</c:v>
                </c:pt>
                <c:pt idx="7">
                  <c:v>24898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C04-469E-81F9-F23746C009F5}"/>
            </c:ext>
          </c:extLst>
        </c:ser>
        <c:ser>
          <c:idx val="1"/>
          <c:order val="1"/>
          <c:tx>
            <c:strRef>
              <c:f>Лист1!$B$9</c:f>
              <c:strCache>
                <c:ptCount val="1"/>
                <c:pt idx="0">
                  <c:v>Импорт подсолнечного масла, тонн</c:v>
                </c:pt>
              </c:strCache>
            </c:strRef>
          </c:tx>
          <c:spPr>
            <a:ln w="22225" cap="rnd">
              <a:solidFill>
                <a:schemeClr val="tx2"/>
              </a:solidFill>
              <a:round/>
            </a:ln>
            <a:effectLst/>
          </c:spPr>
          <c:marker>
            <c:symbol val="squar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Лист1!$C$7:$J$7</c:f>
              <c:numCache>
                <c:formatCode>General</c:formatCod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</c:numCache>
            </c:numRef>
          </c:cat>
          <c:val>
            <c:numRef>
              <c:f>Лист1!$C$9:$J$9</c:f>
              <c:numCache>
                <c:formatCode>_-* #\ ##0_-;\-* #\ ##0_-;_-* "-"??_-;_-@_-</c:formatCode>
                <c:ptCount val="8"/>
                <c:pt idx="0">
                  <c:v>130340.64976</c:v>
                </c:pt>
                <c:pt idx="1">
                  <c:v>113225.65102999999</c:v>
                </c:pt>
                <c:pt idx="2">
                  <c:v>90783.54264</c:v>
                </c:pt>
                <c:pt idx="3">
                  <c:v>98274.3</c:v>
                </c:pt>
                <c:pt idx="4">
                  <c:v>117148.86416000001</c:v>
                </c:pt>
                <c:pt idx="5">
                  <c:v>105248.03985000002</c:v>
                </c:pt>
                <c:pt idx="6">
                  <c:v>94066.960250000004</c:v>
                </c:pt>
                <c:pt idx="7">
                  <c:v>9968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C04-469E-81F9-F23746C00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7573711"/>
        <c:axId val="257576111"/>
      </c:lineChart>
      <c:catAx>
        <c:axId val="257573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57576111"/>
        <c:crosses val="autoZero"/>
        <c:auto val="1"/>
        <c:lblAlgn val="ctr"/>
        <c:lblOffset val="100"/>
        <c:noMultiLvlLbl val="0"/>
      </c:catAx>
      <c:valAx>
        <c:axId val="257576111"/>
        <c:scaling>
          <c:orientation val="minMax"/>
        </c:scaling>
        <c:delete val="0"/>
        <c:axPos val="l"/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2575737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817</cdr:x>
      <cdr:y>0.43972</cdr:y>
    </cdr:from>
    <cdr:to>
      <cdr:x>0.90031</cdr:x>
      <cdr:y>0.62182</cdr:y>
    </cdr:to>
    <cdr:pic>
      <cdr:nvPicPr>
        <cdr:cNvPr id="2" name="Picture 4" descr="Солнечная панель – Бесплатные иконки: технологии">
          <a:extLst xmlns:a="http://schemas.openxmlformats.org/drawingml/2006/main">
            <a:ext uri="{FF2B5EF4-FFF2-40B4-BE49-F238E27FC236}">
              <a16:creationId xmlns:a16="http://schemas.microsoft.com/office/drawing/2014/main" id="{BAF63DEB-5AA6-50C6-9491-1B44E5F78662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630269" y="1551045"/>
          <a:ext cx="726762" cy="642324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71093</cdr:x>
      <cdr:y>0.10405</cdr:y>
    </cdr:from>
    <cdr:to>
      <cdr:x>0.81194</cdr:x>
      <cdr:y>0.25465</cdr:y>
    </cdr:to>
    <cdr:pic>
      <cdr:nvPicPr>
        <cdr:cNvPr id="3" name="Picture 10" descr="Coal Icon - Download Coal Icon 1558573 | Noun Project">
          <a:extLst xmlns:a="http://schemas.openxmlformats.org/drawingml/2006/main">
            <a:ext uri="{FF2B5EF4-FFF2-40B4-BE49-F238E27FC236}">
              <a16:creationId xmlns:a16="http://schemas.microsoft.com/office/drawing/2014/main" id="{E8EE52D8-EAA7-347B-FCDC-37981FEDEDE0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2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230205" y="367018"/>
          <a:ext cx="601034" cy="531214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13312</cdr:x>
      <cdr:y>0.50471</cdr:y>
    </cdr:from>
    <cdr:to>
      <cdr:x>0.2732</cdr:x>
      <cdr:y>0.63592</cdr:y>
    </cdr:to>
    <cdr:pic>
      <cdr:nvPicPr>
        <cdr:cNvPr id="4" name="Picture 12" descr="Wind Turbine Icon Png - Wind Power Plant Icon, Transparent Png ,  Transparent Png Image - PNGitem">
          <a:extLst xmlns:a="http://schemas.openxmlformats.org/drawingml/2006/main">
            <a:ext uri="{FF2B5EF4-FFF2-40B4-BE49-F238E27FC236}">
              <a16:creationId xmlns:a16="http://schemas.microsoft.com/office/drawing/2014/main" id="{D9A880D7-4FD6-F4E5-1837-AA39330A702C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3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792088" y="1780282"/>
          <a:ext cx="833510" cy="462816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9" y="36"/>
            <a:ext cx="2946352" cy="496172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84" y="36"/>
            <a:ext cx="2946352" cy="496172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DA86E160-BC5C-4486-B1C3-AEFAB1B24D41}" type="datetimeFigureOut">
              <a:rPr lang="ru-RU" smtClean="0"/>
              <a:t>05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9" y="9430484"/>
            <a:ext cx="2946352" cy="496170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84" y="9430484"/>
            <a:ext cx="2946352" cy="496170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7C1990AC-5327-49D4-968B-D435B23419C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55081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4" y="16"/>
            <a:ext cx="2945659" cy="496412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507" y="16"/>
            <a:ext cx="2945659" cy="496412"/>
          </a:xfrm>
          <a:prstGeom prst="rect">
            <a:avLst/>
          </a:prstGeom>
        </p:spPr>
        <p:txBody>
          <a:bodyPr vert="horz" lIns="88145" tIns="44074" rIns="88145" bIns="44074" rtlCol="0"/>
          <a:lstStyle>
            <a:lvl1pPr algn="r">
              <a:defRPr sz="1200"/>
            </a:lvl1pPr>
          </a:lstStyle>
          <a:p>
            <a:fld id="{CD16F039-E03A-439B-9B51-D8932922F45B}" type="datetimeFigureOut">
              <a:rPr lang="ru-RU" smtClean="0"/>
              <a:t>05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145" tIns="44074" rIns="88145" bIns="4407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24"/>
            <a:ext cx="5438140" cy="4467703"/>
          </a:xfrm>
          <a:prstGeom prst="rect">
            <a:avLst/>
          </a:prstGeom>
        </p:spPr>
        <p:txBody>
          <a:bodyPr vert="horz" lIns="88145" tIns="44074" rIns="88145" bIns="4407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4" y="9430097"/>
            <a:ext cx="2945659" cy="496412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507" y="9430097"/>
            <a:ext cx="2945659" cy="496412"/>
          </a:xfrm>
          <a:prstGeom prst="rect">
            <a:avLst/>
          </a:prstGeom>
        </p:spPr>
        <p:txBody>
          <a:bodyPr vert="horz" lIns="88145" tIns="44074" rIns="88145" bIns="44074" rtlCol="0" anchor="b"/>
          <a:lstStyle>
            <a:lvl1pPr algn="r">
              <a:defRPr sz="1200"/>
            </a:lvl1pPr>
          </a:lstStyle>
          <a:p>
            <a:fld id="{F77B0BDF-9C81-43E6-B6F9-CE67503DD88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153844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98">
              <a:defRPr/>
            </a:pPr>
            <a:endParaRPr lang="ru-RU" sz="8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0583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0952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98">
              <a:defRPr/>
            </a:pPr>
            <a:fld id="{F77B0BDF-9C81-43E6-B6F9-CE67503DD883}" type="slidenum">
              <a:rPr lang="ru-RU">
                <a:solidFill>
                  <a:prstClr val="black"/>
                </a:solidFill>
                <a:latin typeface="Calibri"/>
              </a:rPr>
              <a:pPr defTabSz="914398">
                <a:defRPr/>
              </a:pPr>
              <a:t>4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0989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237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20153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7038" y="1250950"/>
            <a:ext cx="6007100" cy="33797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4"/>
            <a:endParaRPr lang="ru-RU" sz="900" dirty="0">
              <a:latin typeface="Arial Narrow" panose="020B0606020202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0303">
              <a:defRPr/>
            </a:pPr>
            <a:fld id="{D0E7835C-A407-4CF7-BF0A-81D8305A340F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460303">
                <a:defRPr/>
              </a:pPr>
              <a:t>7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42331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7B0BDF-9C81-43E6-B6F9-CE67503DD883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11313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044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1909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75465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762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9066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40388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0592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19B0651-EE4F-4900-A07F-96A6BFA9D0F0}" type="slidenum">
              <a:rPr lang="ru-RU" sz="163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3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281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4939" y="254519"/>
            <a:ext cx="568404" cy="366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947928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3444840"/>
            <a:ext cx="8572064" cy="409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97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229713" y="3556037"/>
            <a:ext cx="9732576" cy="31402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2041" b="0" cap="none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229713" y="4296554"/>
            <a:ext cx="9732576" cy="282625"/>
          </a:xfrm>
        </p:spPr>
        <p:txBody>
          <a:bodyPr wrap="square">
            <a:spAutoFit/>
          </a:bodyPr>
          <a:lstStyle>
            <a:lvl1pPr algn="ctr">
              <a:defRPr sz="1837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pic>
        <p:nvPicPr>
          <p:cNvPr id="2" name="Picture 1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95799" y="1390013"/>
            <a:ext cx="2000405" cy="174581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 bwMode="gray">
          <a:xfrm>
            <a:off x="1229713" y="3443579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/>
        </p:nvCxnSpPr>
        <p:spPr bwMode="gray">
          <a:xfrm>
            <a:off x="1229713" y="4974258"/>
            <a:ext cx="9732576" cy="0"/>
          </a:xfrm>
          <a:prstGeom prst="line">
            <a:avLst/>
          </a:prstGeom>
          <a:ln w="28575">
            <a:solidFill>
              <a:srgbClr val="BA95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McK Title Elements" hidden="1"/>
          <p:cNvGrpSpPr>
            <a:grpSpLocks/>
          </p:cNvGrpSpPr>
          <p:nvPr/>
        </p:nvGrpSpPr>
        <p:grpSpPr bwMode="gray">
          <a:xfrm>
            <a:off x="1229713" y="5815444"/>
            <a:ext cx="9732576" cy="438954"/>
            <a:chOff x="1663" y="3123"/>
            <a:chExt cx="3109" cy="271"/>
          </a:xfrm>
        </p:grpSpPr>
        <p:sp>
          <p:nvSpPr>
            <p:cNvPr id="16" name="McK Document type"/>
            <p:cNvSpPr txBox="1">
              <a:spLocks noChangeArrowheads="1"/>
            </p:cNvSpPr>
            <p:nvPr/>
          </p:nvSpPr>
          <p:spPr bwMode="gray">
            <a:xfrm>
              <a:off x="1663" y="3123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Тип документа</a:t>
              </a:r>
            </a:p>
          </p:txBody>
        </p:sp>
        <p:sp>
          <p:nvSpPr>
            <p:cNvPr id="17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rtlCol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az-Cyrl-AZ" sz="1224" dirty="0">
                  <a:solidFill>
                    <a:srgbClr val="000000"/>
                  </a:solidFill>
                  <a:latin typeface="Arial"/>
                  <a:sym typeface="Century Gothic"/>
                </a:rPr>
                <a:t>Дат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4637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9" Type="http://schemas.openxmlformats.org/officeDocument/2006/relationships/image" Target="../media/image3.jpeg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tags" Target="../tags/tag31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tags" Target="../tags/tag30.xml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9" Type="http://schemas.openxmlformats.org/officeDocument/2006/relationships/image" Target="../media/image2.emf"/><Relationship Id="rId21" Type="http://schemas.openxmlformats.org/officeDocument/2006/relationships/tags" Target="../tags/tag46.xml"/><Relationship Id="rId34" Type="http://schemas.openxmlformats.org/officeDocument/2006/relationships/tags" Target="../tags/tag59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tags" Target="../tags/tag58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2.v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tags" Target="../tags/tag57.xml"/><Relationship Id="rId37" Type="http://schemas.openxmlformats.org/officeDocument/2006/relationships/tags" Target="../tags/tag62.xml"/><Relationship Id="rId40" Type="http://schemas.openxmlformats.org/officeDocument/2006/relationships/image" Target="../media/image3.jpeg"/><Relationship Id="rId5" Type="http://schemas.openxmlformats.org/officeDocument/2006/relationships/theme" Target="../theme/theme3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36" Type="http://schemas.openxmlformats.org/officeDocument/2006/relationships/tags" Target="../tags/tag61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Relationship Id="rId35" Type="http://schemas.openxmlformats.org/officeDocument/2006/relationships/tags" Target="../tags/tag60.xml"/><Relationship Id="rId8" Type="http://schemas.openxmlformats.org/officeDocument/2006/relationships/tags" Target="../tags/tag33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71" r:id="rId8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Слайд think-cell" r:id="rId37" imgW="270" imgH="270" progId="TCLayout.ActiveDocument.1">
                  <p:embed/>
                </p:oleObj>
              </mc:Choice>
              <mc:Fallback>
                <p:oleObj name="Слайд think-cell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7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0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3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4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5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6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7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8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19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9935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Слайд think-cell" r:id="rId38" imgW="270" imgH="270" progId="TCLayout.ActiveDocument.1">
                  <p:embed/>
                </p:oleObj>
              </mc:Choice>
              <mc:Fallback>
                <p:oleObj name="Слайд think-cell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8856" y="1990667"/>
            <a:ext cx="11400821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3151" y="265186"/>
            <a:ext cx="1044652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grpSp>
        <p:nvGrpSpPr>
          <p:cNvPr id="5" name="McK Slide Elements" hidden="1"/>
          <p:cNvGrpSpPr/>
          <p:nvPr userDrawn="1"/>
        </p:nvGrpSpPr>
        <p:grpSpPr>
          <a:xfrm>
            <a:off x="358856" y="6217299"/>
            <a:ext cx="11400821" cy="359923"/>
            <a:chOff x="263767" y="6093526"/>
            <a:chExt cx="8379901" cy="35275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263767" y="6093526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02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az-Cyrl-AZ" sz="1020" dirty="0">
                  <a:solidFill>
                    <a:srgbClr val="000000"/>
                  </a:solidFill>
                  <a:latin typeface="Arial"/>
                </a:rPr>
                <a:t>Сноска</a:t>
              </a:r>
              <a:endParaRPr lang="de-DE" sz="10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263767" y="6289318"/>
              <a:ext cx="8379901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020" dirty="0">
                  <a:solidFill>
                    <a:srgbClr val="000000"/>
                  </a:solidFill>
                </a:rPr>
                <a:t>Источник:</a:t>
              </a:r>
              <a:r>
                <a:rPr lang="de-DE" sz="1020" dirty="0">
                  <a:solidFill>
                    <a:srgbClr val="000000"/>
                  </a:solidFill>
                </a:rPr>
                <a:t> </a:t>
              </a:r>
              <a:r>
                <a:rPr lang="az-Cyrl-AZ" sz="1020" dirty="0">
                  <a:solidFill>
                    <a:srgbClr val="000000"/>
                  </a:solidFill>
                </a:rPr>
                <a:t>источник</a:t>
              </a:r>
              <a:endParaRPr lang="de-DE" sz="102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58856" y="1137061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b="1" dirty="0">
                  <a:solidFill>
                    <a:srgbClr val="000000"/>
                  </a:solidFill>
                </a:rPr>
                <a:t>Заголовок</a:t>
              </a:r>
              <a:endParaRPr lang="de-DE" sz="1632" b="1" dirty="0">
                <a:solidFill>
                  <a:srgbClr val="000000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az-Cyrl-AZ" sz="1632" dirty="0">
                  <a:solidFill>
                    <a:srgbClr val="808080"/>
                  </a:solidFill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431411" y="842309"/>
            <a:ext cx="1069098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012401" y="842309"/>
            <a:ext cx="1488095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224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339817" y="842308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39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az-Cyrl-AZ" sz="1224" dirty="0">
                  <a:solidFill>
                    <a:srgbClr val="000000"/>
                  </a:solidFill>
                </a:rPr>
                <a:t>Легенда </a:t>
              </a:r>
              <a:r>
                <a:rPr lang="de-DE" sz="1224" dirty="0">
                  <a:solidFill>
                    <a:srgbClr val="000000"/>
                  </a:solidFill>
                </a:rPr>
                <a:t>5</a:t>
              </a: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de-DE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358856" y="823648"/>
            <a:ext cx="11400821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549088" algn="l"/>
              </a:tabLst>
              <a:defRPr/>
            </a:pPr>
            <a:r>
              <a:rPr lang="az-Cyrl-AZ" sz="1632" dirty="0">
                <a:solidFill>
                  <a:srgbClr val="808080"/>
                </a:solidFill>
                <a:latin typeface="Arial"/>
              </a:rPr>
              <a:t>Единица измерения</a:t>
            </a:r>
            <a:endParaRPr lang="de-DE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313153" y="9345"/>
            <a:ext cx="623569" cy="156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020" cap="all" dirty="0">
                <a:solidFill>
                  <a:srgbClr val="808080"/>
                </a:solidFill>
              </a:rPr>
              <a:t>Tracker</a:t>
            </a: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052302" y="823651"/>
            <a:ext cx="707373" cy="216085"/>
            <a:chOff x="8217663" y="285750"/>
            <a:chExt cx="519937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17663" y="285750"/>
              <a:ext cx="519937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17663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17663" y="497533"/>
              <a:ext cx="519937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McK Oval" hidden="1"/>
          <p:cNvSpPr txBox="1"/>
          <p:nvPr>
            <p:custDataLst>
              <p:tags r:id="rId8"/>
            </p:custDataLst>
          </p:nvPr>
        </p:nvSpPr>
        <p:spPr bwMode="gray">
          <a:xfrm>
            <a:off x="2235382" y="1720173"/>
            <a:ext cx="2073396" cy="155495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1" name="McK Rectangle" hidden="1"/>
          <p:cNvSpPr txBox="1"/>
          <p:nvPr>
            <p:custDataLst>
              <p:tags r:id="rId9"/>
            </p:custDataLst>
          </p:nvPr>
        </p:nvSpPr>
        <p:spPr bwMode="gray">
          <a:xfrm>
            <a:off x="2235382" y="3424857"/>
            <a:ext cx="2073396" cy="15549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2" name="McK RoundedRectangle" hidden="1"/>
          <p:cNvSpPr txBox="1"/>
          <p:nvPr>
            <p:custDataLst>
              <p:tags r:id="rId10"/>
            </p:custDataLst>
          </p:nvPr>
        </p:nvSpPr>
        <p:spPr bwMode="gray">
          <a:xfrm>
            <a:off x="4438366" y="3424857"/>
            <a:ext cx="2073396" cy="1554955"/>
          </a:xfrm>
          <a:prstGeom prst="round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3" name="McK Arrow" hidden="1"/>
          <p:cNvSpPr txBox="1"/>
          <p:nvPr>
            <p:custDataLst>
              <p:tags r:id="rId11"/>
            </p:custDataLst>
          </p:nvPr>
        </p:nvSpPr>
        <p:spPr bwMode="gray">
          <a:xfrm>
            <a:off x="4438365" y="4846086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863D"/>
              </a:buClr>
            </a:pPr>
            <a:r>
              <a:rPr lang="en-US" sz="1632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84" name="McK DirArrow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7189508" y="3968731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85" name="McK Bracket" hidden="1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86" name="McK Moon" hidden="1"/>
          <p:cNvGrpSpPr/>
          <p:nvPr>
            <p:custDataLst>
              <p:tags r:id="rId14"/>
            </p:custDataLst>
          </p:nvPr>
        </p:nvGrpSpPr>
        <p:grpSpPr bwMode="gray">
          <a:xfrm>
            <a:off x="11414111" y="1554958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9" name="McK Flow" hidden="1"/>
          <p:cNvGrpSpPr/>
          <p:nvPr>
            <p:custDataLst>
              <p:tags r:id="rId15"/>
            </p:custDataLst>
          </p:nvPr>
        </p:nvGrpSpPr>
        <p:grpSpPr bwMode="gray">
          <a:xfrm>
            <a:off x="4438365" y="2406945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1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  <p:cxnSp>
        <p:nvCxnSpPr>
          <p:cNvPr id="74" name="Straight Connector 73"/>
          <p:cNvCxnSpPr/>
          <p:nvPr/>
        </p:nvCxnSpPr>
        <p:spPr bwMode="gray">
          <a:xfrm>
            <a:off x="1192206" y="750301"/>
            <a:ext cx="10999796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 bwMode="gray">
          <a:xfrm>
            <a:off x="0" y="6653244"/>
            <a:ext cx="12192000" cy="0"/>
          </a:xfrm>
          <a:prstGeom prst="line">
            <a:avLst/>
          </a:prstGeom>
          <a:ln w="25400">
            <a:solidFill>
              <a:srgbClr val="BE93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8856" y="149036"/>
            <a:ext cx="823633" cy="620774"/>
          </a:xfrm>
          <a:prstGeom prst="rect">
            <a:avLst/>
          </a:prstGeom>
        </p:spPr>
      </p:pic>
      <p:sp>
        <p:nvSpPr>
          <p:cNvPr id="3" name="pg number"/>
          <p:cNvSpPr>
            <a:spLocks/>
          </p:cNvSpPr>
          <p:nvPr/>
        </p:nvSpPr>
        <p:spPr bwMode="gray">
          <a:xfrm>
            <a:off x="11485475" y="6573167"/>
            <a:ext cx="274200" cy="16015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de-DE" sz="1020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1020" dirty="0">
              <a:solidFill>
                <a:srgbClr val="000000"/>
              </a:solidFill>
            </a:endParaRPr>
          </a:p>
        </p:txBody>
      </p:sp>
      <p:grpSp>
        <p:nvGrpSpPr>
          <p:cNvPr id="93" name="McK SplitFlow" hidden="1"/>
          <p:cNvGrpSpPr/>
          <p:nvPr userDrawn="1">
            <p:custDataLst>
              <p:tags r:id="rId16"/>
            </p:custDataLst>
          </p:nvPr>
        </p:nvGrpSpPr>
        <p:grpSpPr>
          <a:xfrm>
            <a:off x="4438365" y="1386707"/>
            <a:ext cx="2488075" cy="932973"/>
            <a:chOff x="114300" y="1270000"/>
            <a:chExt cx="1828800" cy="914400"/>
          </a:xfrm>
        </p:grpSpPr>
        <p:sp>
          <p:nvSpPr>
            <p:cNvPr id="94" name="Freeform 93"/>
            <p:cNvSpPr/>
            <p:nvPr>
              <p:custDataLst>
                <p:tags r:id="rId17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TextBox 94"/>
            <p:cNvSpPr txBox="1"/>
            <p:nvPr>
              <p:custDataLst>
                <p:tags r:id="rId18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  <p:sp>
          <p:nvSpPr>
            <p:cNvPr id="96" name="Freeform 95"/>
            <p:cNvSpPr/>
            <p:nvPr>
              <p:custDataLst>
                <p:tags r:id="rId19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de-DE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TextBox 96"/>
            <p:cNvSpPr txBox="1"/>
            <p:nvPr>
              <p:custDataLst>
                <p:tags r:id="rId20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863D"/>
                </a:buClr>
              </a:pPr>
              <a:r>
                <a:rPr lang="en-US" sz="1632" b="1" dirty="0">
                  <a:solidFill>
                    <a:srgbClr val="000000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638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8" r:id="rId4"/>
  </p:sldLayoutIdLst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549088" algn="l"/>
        </a:tabLst>
        <a:defRPr sz="1837" b="0" cap="all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svg"/><Relationship Id="rId5" Type="http://schemas.openxmlformats.org/officeDocument/2006/relationships/image" Target="../media/image10.png"/><Relationship Id="rId4" Type="http://schemas.openxmlformats.org/officeDocument/2006/relationships/image" Target="../media/image1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21.svg"/><Relationship Id="rId3" Type="http://schemas.openxmlformats.org/officeDocument/2006/relationships/chart" Target="../charts/chart1.xml"/><Relationship Id="rId7" Type="http://schemas.openxmlformats.org/officeDocument/2006/relationships/image" Target="../media/image15.sv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11" Type="http://schemas.openxmlformats.org/officeDocument/2006/relationships/image" Target="../media/image19.svg"/><Relationship Id="rId5" Type="http://schemas.openxmlformats.org/officeDocument/2006/relationships/chart" Target="../charts/chart2.xml"/><Relationship Id="rId10" Type="http://schemas.openxmlformats.org/officeDocument/2006/relationships/image" Target="../media/image13.png"/><Relationship Id="rId4" Type="http://schemas.openxmlformats.org/officeDocument/2006/relationships/image" Target="../media/image8.png"/><Relationship Id="rId9" Type="http://schemas.openxmlformats.org/officeDocument/2006/relationships/image" Target="../media/image17.svg"/><Relationship Id="rId1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8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5.jfif"/><Relationship Id="rId5" Type="http://schemas.openxmlformats.org/officeDocument/2006/relationships/image" Target="../media/image24.png"/><Relationship Id="rId4" Type="http://schemas.openxmlformats.org/officeDocument/2006/relationships/image" Target="../media/image23.jfif"/><Relationship Id="rId9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4">
            <a:extLst>
              <a:ext uri="{FF2B5EF4-FFF2-40B4-BE49-F238E27FC236}">
                <a16:creationId xmlns:a16="http://schemas.microsoft.com/office/drawing/2014/main" id="{DBDBE0F6-E6E0-F3BE-E460-97B576B4CF56}"/>
              </a:ext>
            </a:extLst>
          </p:cNvPr>
          <p:cNvSpPr/>
          <p:nvPr/>
        </p:nvSpPr>
        <p:spPr>
          <a:xfrm>
            <a:off x="4478510" y="1528112"/>
            <a:ext cx="5832648" cy="3801776"/>
          </a:xfrm>
          <a:custGeom>
            <a:avLst/>
            <a:gdLst/>
            <a:ahLst/>
            <a:cxnLst/>
            <a:rect l="l" t="t" r="r" b="b"/>
            <a:pathLst>
              <a:path w="8692515" h="5685790">
                <a:moveTo>
                  <a:pt x="8597213" y="5685729"/>
                </a:moveTo>
                <a:lnTo>
                  <a:pt x="0" y="5685729"/>
                </a:lnTo>
                <a:lnTo>
                  <a:pt x="0" y="0"/>
                </a:lnTo>
                <a:lnTo>
                  <a:pt x="8597217" y="0"/>
                </a:lnTo>
                <a:lnTo>
                  <a:pt x="8615882" y="1846"/>
                </a:lnTo>
                <a:lnTo>
                  <a:pt x="8664565" y="27897"/>
                </a:lnTo>
                <a:lnTo>
                  <a:pt x="8690616" y="76580"/>
                </a:lnTo>
                <a:lnTo>
                  <a:pt x="8692463" y="95249"/>
                </a:lnTo>
                <a:lnTo>
                  <a:pt x="8692463" y="5590479"/>
                </a:lnTo>
                <a:lnTo>
                  <a:pt x="8676460" y="5643324"/>
                </a:lnTo>
                <a:lnTo>
                  <a:pt x="8633664" y="5678478"/>
                </a:lnTo>
                <a:lnTo>
                  <a:pt x="8597213" y="5685729"/>
                </a:lnTo>
                <a:close/>
              </a:path>
            </a:pathLst>
          </a:custGeom>
          <a:solidFill>
            <a:srgbClr val="AE8705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5">
            <a:extLst>
              <a:ext uri="{FF2B5EF4-FFF2-40B4-BE49-F238E27FC236}">
                <a16:creationId xmlns:a16="http://schemas.microsoft.com/office/drawing/2014/main" id="{924E87C2-7994-9260-89B3-7E2A166D633C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19336" y="152636"/>
            <a:ext cx="3319834" cy="6552728"/>
          </a:xfrm>
          <a:prstGeom prst="rect">
            <a:avLst/>
          </a:prstGeom>
        </p:spPr>
      </p:pic>
      <p:sp>
        <p:nvSpPr>
          <p:cNvPr id="7" name="Заголовок 4">
            <a:extLst>
              <a:ext uri="{FF2B5EF4-FFF2-40B4-BE49-F238E27FC236}">
                <a16:creationId xmlns:a16="http://schemas.microsoft.com/office/drawing/2014/main" id="{49B72499-FFF4-F8CA-9D1B-D1A189FEA2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8954" y="2636912"/>
            <a:ext cx="5471760" cy="1936087"/>
          </a:xfrm>
        </p:spPr>
        <p:txBody>
          <a:bodyPr anchor="ctr" anchorCtr="0">
            <a:noAutofit/>
          </a:bodyPr>
          <a:lstStyle/>
          <a:p>
            <a:pPr algn="ctr"/>
            <a:r>
              <a:rPr lang="ru-RU" sz="4000" cap="all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АО «</a:t>
            </a:r>
            <a:r>
              <a:rPr lang="kk-KZ" sz="4000" cap="all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Банк развития казахстана</a:t>
            </a:r>
            <a:r>
              <a:rPr lang="ru-RU" sz="4000" cap="all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3962133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34">
            <a:extLst>
              <a:ext uri="{FF2B5EF4-FFF2-40B4-BE49-F238E27FC236}">
                <a16:creationId xmlns:a16="http://schemas.microsoft.com/office/drawing/2014/main" id="{6C735590-99A8-9C28-CE47-E66831C6ADA2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F49B046-6143-EC09-2A5B-1441BF8E3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12" name="Прямая соединительная линия 36">
            <a:extLst>
              <a:ext uri="{FF2B5EF4-FFF2-40B4-BE49-F238E27FC236}">
                <a16:creationId xmlns:a16="http://schemas.microsoft.com/office/drawing/2014/main" id="{A5D7EA34-ED5E-D886-E75A-AD5CDA0C80E0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231FEF8-DD3D-A94D-A65D-0B050423794C}"/>
              </a:ext>
            </a:extLst>
          </p:cNvPr>
          <p:cNvSpPr txBox="1">
            <a:spLocks/>
          </p:cNvSpPr>
          <p:nvPr/>
        </p:nvSpPr>
        <p:spPr>
          <a:xfrm>
            <a:off x="-3702" y="-3060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latin typeface="Arial Narrow" panose="020B0606020202030204" pitchFamily="34" charset="0"/>
              </a:rPr>
              <a:t>ОБНОВЛЕНИЕ ТРАНСПОРТА ЭКСТРЕННЫХ СЛУЖБ ЧЕРЕЗ ФРП</a:t>
            </a:r>
          </a:p>
        </p:txBody>
      </p:sp>
      <p:sp>
        <p:nvSpPr>
          <p:cNvPr id="96" name="Прямоугольник 11">
            <a:extLst>
              <a:ext uri="{FF2B5EF4-FFF2-40B4-BE49-F238E27FC236}">
                <a16:creationId xmlns:a16="http://schemas.microsoft.com/office/drawing/2014/main" id="{4C5BD43A-C389-F331-1D66-F9427824B8C6}"/>
              </a:ext>
            </a:extLst>
          </p:cNvPr>
          <p:cNvSpPr/>
          <p:nvPr/>
        </p:nvSpPr>
        <p:spPr>
          <a:xfrm>
            <a:off x="6568750" y="3639074"/>
            <a:ext cx="5038725" cy="28584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олицейскому и пожарному транспорту</a:t>
            </a:r>
            <a:endParaRPr lang="ru-RU" sz="1200" dirty="0"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13">
            <a:extLst>
              <a:ext uri="{FF2B5EF4-FFF2-40B4-BE49-F238E27FC236}">
                <a16:creationId xmlns:a16="http://schemas.microsoft.com/office/drawing/2014/main" id="{DB5532AF-85B6-8743-3BB8-4E4B577C3F06}"/>
              </a:ext>
            </a:extLst>
          </p:cNvPr>
          <p:cNvSpPr/>
          <p:nvPr/>
        </p:nvSpPr>
        <p:spPr>
          <a:xfrm>
            <a:off x="424863" y="1825021"/>
            <a:ext cx="1967205" cy="2858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анитарному транспорту</a:t>
            </a:r>
            <a:endParaRPr lang="ru-RU" sz="1200" dirty="0"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9" name="Рисунок 36" descr="АПСБ">
            <a:extLst>
              <a:ext uri="{FF2B5EF4-FFF2-40B4-BE49-F238E27FC236}">
                <a16:creationId xmlns:a16="http://schemas.microsoft.com/office/drawing/2014/main" id="{6FD7301E-1C9A-09B9-CB1C-CB9DAD22D633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5310" y="746669"/>
            <a:ext cx="1503128" cy="10759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" name="Picture 2" descr="Astana Motors - Скорая помощь врачам">
            <a:extLst>
              <a:ext uri="{FF2B5EF4-FFF2-40B4-BE49-F238E27FC236}">
                <a16:creationId xmlns:a16="http://schemas.microsoft.com/office/drawing/2014/main" id="{4128056C-671A-0812-7D6E-D28556015736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243" y="737660"/>
            <a:ext cx="1502930" cy="1104428"/>
          </a:xfrm>
          <a:prstGeom prst="rect">
            <a:avLst/>
          </a:prstGeom>
          <a:noFill/>
        </p:spPr>
      </p:pic>
      <p:pic>
        <p:nvPicPr>
          <p:cNvPr id="101" name="Рисунок 26">
            <a:extLst>
              <a:ext uri="{FF2B5EF4-FFF2-40B4-BE49-F238E27FC236}">
                <a16:creationId xmlns:a16="http://schemas.microsoft.com/office/drawing/2014/main" id="{B6D8D010-E6C4-BD1F-B52E-F48CC26CF362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575" y="746127"/>
            <a:ext cx="1556624" cy="107645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02" name="Таблица 27">
            <a:extLst>
              <a:ext uri="{FF2B5EF4-FFF2-40B4-BE49-F238E27FC236}">
                <a16:creationId xmlns:a16="http://schemas.microsoft.com/office/drawing/2014/main" id="{58D81095-2343-3D6C-E647-F6DF876261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649949"/>
              </p:ext>
            </p:extLst>
          </p:nvPr>
        </p:nvGraphicFramePr>
        <p:xfrm>
          <a:off x="240544" y="2091431"/>
          <a:ext cx="7391839" cy="4507211"/>
        </p:xfrm>
        <a:graphic>
          <a:graphicData uri="http://schemas.openxmlformats.org/drawingml/2006/table">
            <a:tbl>
              <a:tblPr firstRow="1" firstCol="1" bandRow="1"/>
              <a:tblGrid>
                <a:gridCol w="3523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749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93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51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4083">
                <a:tc>
                  <a:txBody>
                    <a:bodyPr/>
                    <a:lstStyle/>
                    <a:p>
                      <a:pPr indent="1841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9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ctr" defTabSz="737527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ект (регион)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л-во АСМП</a:t>
                      </a:r>
                      <a:endParaRPr lang="ru-RU" sz="9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умма финансирования </a:t>
                      </a:r>
                      <a:r>
                        <a:rPr lang="ru-RU" sz="900" b="1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ыс.тг</a:t>
                      </a:r>
                      <a:endParaRPr lang="ru-RU" sz="9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«Актюбинская больница» на ПХВ ГУ «Управление здравоохранения Актюбинской области»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2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039</a:t>
                      </a:r>
                      <a:r>
                        <a:rPr lang="ru-RU" sz="900" baseline="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65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617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 «Областная станция скорой и неотложной медицинской помощи» государственного учреждения «Управления здравоохранения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матинской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»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672 05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на ПХВ «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тырауская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ная станция скорой медицинской помощи» Управления здравоохранения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тырауской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»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8 45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«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мбылская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ная станция скорой медицинской помощи управления здравоохранения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кимата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9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мбылской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»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5 99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«Областная станция скорой медицинской помощи» управления здравоохранения Карагандинской области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r>
                        <a:rPr lang="ru-RU" sz="900" baseline="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584 70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4057257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на ПХВ «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альская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жрайонная больница» управления здравоохранения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ызылординской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94 25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6539214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на ПХВ «Областной центр скорой медицинской помощи» КГУ «Управление здравоохранения акимата Северо-Казахстанской области»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5 2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2419034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«Областная станция скорой медицинской помощи» управления общественного здоровья Туркестанской области»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36 9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893246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«Областная станция скорой медицинской помощи» Управления здравоохранения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кимата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Западно-Казахстанской области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56 05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586963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«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нгистауская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ная станция скорой и неотложной медицинской помощи» Управления здравоохранения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ангистауской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7</a:t>
                      </a:r>
                      <a:r>
                        <a:rPr lang="ru-RU" sz="900" baseline="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450</a:t>
                      </a:r>
                      <a:endParaRPr lang="ru-RU" sz="900" dirty="0">
                        <a:effectLst/>
                        <a:latin typeface="Arial Narrow" panose="020B060602020203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494278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на ПХВ «Служба скорой медицинской помощи» Управления общественного здоровья города Алматы»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6 74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616262"/>
                  </a:ext>
                </a:extLst>
              </a:tr>
              <a:tr h="297446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КП на ПХВ «Городская станция скорой медицинской помощи»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кимата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города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ур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Султан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5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186 900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8302806"/>
                  </a:ext>
                </a:extLst>
              </a:tr>
              <a:tr h="137839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ГП на ПХВ «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залинская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жрайонная больница» Управления здравоохранения </a:t>
                      </a:r>
                      <a:r>
                        <a:rPr lang="ru-RU" sz="900" dirty="0" err="1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ызылординской</a:t>
                      </a: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области»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2 412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5994065"/>
                  </a:ext>
                </a:extLst>
              </a:tr>
              <a:tr h="194739">
                <a:tc>
                  <a:txBody>
                    <a:bodyPr/>
                    <a:lstStyle/>
                    <a:p>
                      <a:pPr indent="1841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l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ТОГО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ctr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27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8415" algn="ctr" defTabSz="91440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 466 742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03" name="Таблица 28">
            <a:extLst>
              <a:ext uri="{FF2B5EF4-FFF2-40B4-BE49-F238E27FC236}">
                <a16:creationId xmlns:a16="http://schemas.microsoft.com/office/drawing/2014/main" id="{E5F113D2-5FB1-FC60-1FA5-2BBEF9FCAC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720408"/>
              </p:ext>
            </p:extLst>
          </p:nvPr>
        </p:nvGraphicFramePr>
        <p:xfrm>
          <a:off x="7752388" y="3939053"/>
          <a:ext cx="4344873" cy="2056440"/>
        </p:xfrm>
        <a:graphic>
          <a:graphicData uri="http://schemas.openxmlformats.org/drawingml/2006/table">
            <a:tbl>
              <a:tblPr firstRow="1" firstCol="1" bandRow="1"/>
              <a:tblGrid>
                <a:gridCol w="3545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91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7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13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1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 (регион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транспорта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 </a:t>
                      </a:r>
                      <a:r>
                        <a:rPr lang="ru-RU" sz="9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ыс.тг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870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1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У «Департамент полиции Акмолинской обл. Министерства внутренних дел Республики Казахстан»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 6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У «Департамент по чрезвычайным ситуациям 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ой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обл. Министерства по чрезвычайным ситуациям РК»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5 4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У «Департамент по чрезвычайным ситуациям Западно-Казахстанской обл. Министерства по чрезвычайным РК»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 5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 049 625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A000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Номер слайда 2053">
            <a:extLst>
              <a:ext uri="{FF2B5EF4-FFF2-40B4-BE49-F238E27FC236}">
                <a16:creationId xmlns:a16="http://schemas.microsoft.com/office/drawing/2014/main" id="{550042A7-E41F-9AFC-20FA-16A5818E2A0E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10</a:t>
            </a:r>
          </a:p>
        </p:txBody>
      </p:sp>
      <p:sp>
        <p:nvSpPr>
          <p:cNvPr id="4" name="Прямоугольник 64">
            <a:extLst>
              <a:ext uri="{FF2B5EF4-FFF2-40B4-BE49-F238E27FC236}">
                <a16:creationId xmlns:a16="http://schemas.microsoft.com/office/drawing/2014/main" id="{DC3BA527-246F-6984-0218-26873FC3D831}"/>
              </a:ext>
            </a:extLst>
          </p:cNvPr>
          <p:cNvSpPr/>
          <p:nvPr/>
        </p:nvSpPr>
        <p:spPr>
          <a:xfrm>
            <a:off x="7762495" y="758233"/>
            <a:ext cx="4334767" cy="1620271"/>
          </a:xfrm>
          <a:prstGeom prst="rect">
            <a:avLst/>
          </a:prstGeom>
          <a:noFill/>
          <a:ln w="19050">
            <a:solidFill>
              <a:srgbClr val="AE87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37"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349618-2112-4E3D-4F60-416079FF8A54}"/>
              </a:ext>
            </a:extLst>
          </p:cNvPr>
          <p:cNvSpPr txBox="1"/>
          <p:nvPr/>
        </p:nvSpPr>
        <p:spPr>
          <a:xfrm>
            <a:off x="8568848" y="635712"/>
            <a:ext cx="2206348" cy="3596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spAutoFit/>
          </a:bodyPr>
          <a:lstStyle/>
          <a:p>
            <a:pPr algn="ctr"/>
            <a:r>
              <a:rPr lang="ru-RU" sz="1737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2C25A4-C322-1BF6-5728-467698880C4E}"/>
              </a:ext>
            </a:extLst>
          </p:cNvPr>
          <p:cNvSpPr txBox="1"/>
          <p:nvPr/>
        </p:nvSpPr>
        <p:spPr>
          <a:xfrm>
            <a:off x="7802834" y="2852936"/>
            <a:ext cx="4294427" cy="6001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just"/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обретено </a:t>
            </a:r>
            <a:r>
              <a:rPr lang="ru-RU" sz="11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0**</a:t>
            </a:r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единиц пожарного и полицейского транспорта на сумму </a:t>
            </a:r>
            <a:r>
              <a:rPr lang="ru-RU" sz="11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млрд тенге</a:t>
            </a:r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 таких регионах как: Акмолинская область, Западно-Казахстанская область, Мангистауская область</a:t>
            </a:r>
          </a:p>
        </p:txBody>
      </p:sp>
      <p:sp>
        <p:nvSpPr>
          <p:cNvPr id="7" name="Прямоугольник 66">
            <a:extLst>
              <a:ext uri="{FF2B5EF4-FFF2-40B4-BE49-F238E27FC236}">
                <a16:creationId xmlns:a16="http://schemas.microsoft.com/office/drawing/2014/main" id="{3BA09296-3F99-8944-28DB-0751E1592B80}"/>
              </a:ext>
            </a:extLst>
          </p:cNvPr>
          <p:cNvSpPr/>
          <p:nvPr/>
        </p:nvSpPr>
        <p:spPr>
          <a:xfrm>
            <a:off x="7762496" y="2638674"/>
            <a:ext cx="4334766" cy="966289"/>
          </a:xfrm>
          <a:prstGeom prst="rect">
            <a:avLst/>
          </a:prstGeom>
          <a:noFill/>
          <a:ln w="19050">
            <a:solidFill>
              <a:srgbClr val="AE87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37"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43ED8C-102D-E2EE-F22D-B6054652E035}"/>
              </a:ext>
            </a:extLst>
          </p:cNvPr>
          <p:cNvSpPr txBox="1"/>
          <p:nvPr/>
        </p:nvSpPr>
        <p:spPr>
          <a:xfrm>
            <a:off x="9088113" y="2476128"/>
            <a:ext cx="1318027" cy="35965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b">
            <a:spAutoFit/>
          </a:bodyPr>
          <a:lstStyle/>
          <a:p>
            <a:pPr algn="ctr"/>
            <a:r>
              <a:rPr lang="ru-RU" sz="1737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ы</a:t>
            </a:r>
          </a:p>
        </p:txBody>
      </p:sp>
      <p:sp>
        <p:nvSpPr>
          <p:cNvPr id="10" name="Прямоугольник 14">
            <a:extLst>
              <a:ext uri="{FF2B5EF4-FFF2-40B4-BE49-F238E27FC236}">
                <a16:creationId xmlns:a16="http://schemas.microsoft.com/office/drawing/2014/main" id="{51907A19-4B4D-B1BF-E8F6-616584CC661A}"/>
              </a:ext>
            </a:extLst>
          </p:cNvPr>
          <p:cNvSpPr/>
          <p:nvPr/>
        </p:nvSpPr>
        <p:spPr>
          <a:xfrm>
            <a:off x="7843204" y="980474"/>
            <a:ext cx="417334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обретено и поставлено </a:t>
            </a:r>
            <a:r>
              <a:rPr lang="ru-RU" sz="11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7*</a:t>
            </a:r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единиц санитарного транспорта на сумму </a:t>
            </a:r>
            <a:r>
              <a:rPr lang="ru-RU" sz="1100" b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,5 млрд тенге</a:t>
            </a:r>
            <a:r>
              <a:rPr lang="ru-RU" sz="1100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 таких регионах как: Алматинская область, Жамбылская область, Западно-Казахстанская область, Карагандинская область, Северо-Казахстанская область, Актюбинская область, Атырауская область, Кызылординская область, Туркестанская область, Мангистауская область, города Астана и Алматы</a:t>
            </a:r>
          </a:p>
        </p:txBody>
      </p:sp>
      <p:sp>
        <p:nvSpPr>
          <p:cNvPr id="13" name="Прямоугольник 14">
            <a:extLst>
              <a:ext uri="{FF2B5EF4-FFF2-40B4-BE49-F238E27FC236}">
                <a16:creationId xmlns:a16="http://schemas.microsoft.com/office/drawing/2014/main" id="{71FBD71B-D35C-4BFB-7049-A2B70EEE7032}"/>
              </a:ext>
            </a:extLst>
          </p:cNvPr>
          <p:cNvSpPr/>
          <p:nvPr/>
        </p:nvSpPr>
        <p:spPr>
          <a:xfrm>
            <a:off x="7762495" y="6021288"/>
            <a:ext cx="417334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b="1" i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lang="ru-RU" sz="1100" i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копительно за весь период 1 506 единиц санитарного транспорта</a:t>
            </a:r>
          </a:p>
          <a:p>
            <a:pPr lvl="0" algn="just"/>
            <a:r>
              <a:rPr lang="ru-RU" sz="1100" i="1" dirty="0"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*Накопительно за весь период 550 единиц пожарного и полицейского транспорта </a:t>
            </a:r>
          </a:p>
        </p:txBody>
      </p:sp>
    </p:spTree>
    <p:extLst>
      <p:ext uri="{BB962C8B-B14F-4D97-AF65-F5344CB8AC3E}">
        <p14:creationId xmlns:p14="http://schemas.microsoft.com/office/powerpoint/2010/main" val="1104452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TextBox 166">
            <a:extLst>
              <a:ext uri="{FF2B5EF4-FFF2-40B4-BE49-F238E27FC236}">
                <a16:creationId xmlns:a16="http://schemas.microsoft.com/office/drawing/2014/main" id="{8A80518D-5088-400B-9B14-F8AD9F36A8A3}"/>
              </a:ext>
            </a:extLst>
          </p:cNvPr>
          <p:cNvSpPr txBox="1"/>
          <p:nvPr/>
        </p:nvSpPr>
        <p:spPr>
          <a:xfrm>
            <a:off x="29290" y="44624"/>
            <a:ext cx="97645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БРК </a:t>
            </a:r>
            <a:r>
              <a:rPr lang="ru-RU" altLang="ru-RU" b="1" dirty="0">
                <a:latin typeface="Arial Narrow" panose="020B0606020202030204" pitchFamily="34" charset="0"/>
                <a:ea typeface="+mj-ea"/>
                <a:cs typeface="+mj-cs"/>
              </a:rPr>
              <a:t>СОДЕЙСТВУЕТ УСТОЙЧИВОМУ РАЗВИТИЮ НАЦИОНАЛЬНОЙ ЭКОНОМИКИ</a:t>
            </a:r>
          </a:p>
        </p:txBody>
      </p:sp>
      <p:sp>
        <p:nvSpPr>
          <p:cNvPr id="92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2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56CE423-5A7B-0D93-5DD1-C441B5730755}"/>
              </a:ext>
            </a:extLst>
          </p:cNvPr>
          <p:cNvSpPr txBox="1"/>
          <p:nvPr/>
        </p:nvSpPr>
        <p:spPr>
          <a:xfrm>
            <a:off x="806742" y="1511276"/>
            <a:ext cx="10332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685</a:t>
            </a:r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,</a:t>
            </a:r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1</a:t>
            </a:r>
            <a:endParaRPr lang="ru-RU" sz="2400" b="1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86C2485-EEBA-34A5-8661-D5EC5307109B}"/>
              </a:ext>
            </a:extLst>
          </p:cNvPr>
          <p:cNvSpPr txBox="1"/>
          <p:nvPr/>
        </p:nvSpPr>
        <p:spPr>
          <a:xfrm>
            <a:off x="1791929" y="1548983"/>
            <a:ext cx="4940825" cy="8719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 err="1" smtClean="0">
                <a:latin typeface="Arial Narrow" panose="020B0606020202030204" pitchFamily="34" charset="0"/>
                <a:ea typeface="Verdana" panose="020B0604030504040204" pitchFamily="34" charset="0"/>
              </a:rPr>
              <a:t>млрд.тенге</a:t>
            </a:r>
            <a:endParaRPr lang="ru-RU" sz="1333" dirty="0">
              <a:latin typeface="Arial Narrow" panose="020B0606020202030204" pitchFamily="34" charset="0"/>
              <a:ea typeface="Verdana" panose="020B0604030504040204" pitchFamily="34" charset="0"/>
            </a:endParaRPr>
          </a:p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инвестировано Группой Банка по 30 проектам </a:t>
            </a:r>
            <a:r>
              <a:rPr lang="ru-RU" sz="1200" dirty="0">
                <a:latin typeface="Arial Narrow" panose="020B0606020202030204" pitchFamily="34" charset="0"/>
                <a:ea typeface="Verdana" panose="020B0604030504040204" pitchFamily="34" charset="0"/>
              </a:rPr>
              <a:t>в обрабатывающую промышленность (94,6%) и инфраструктуру (5,4%), 23 </a:t>
            </a:r>
            <a:r>
              <a:rPr lang="ru-RU" sz="1200" dirty="0" err="1">
                <a:latin typeface="Arial Narrow" panose="020B0606020202030204" pitchFamily="34" charset="0"/>
                <a:ea typeface="Verdana" panose="020B0604030504040204" pitchFamily="34" charset="0"/>
              </a:rPr>
              <a:t>предэкспортных</a:t>
            </a:r>
            <a:r>
              <a:rPr lang="ru-RU" sz="1200" dirty="0">
                <a:latin typeface="Arial Narrow" panose="020B0606020202030204" pitchFamily="34" charset="0"/>
                <a:ea typeface="Verdana" panose="020B0604030504040204" pitchFamily="34" charset="0"/>
              </a:rPr>
              <a:t> операции, профинансированы лизинговые сделки и проекты МБК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A30DF401-38C4-45BD-64A4-3F25C99C33BA}"/>
              </a:ext>
            </a:extLst>
          </p:cNvPr>
          <p:cNvSpPr txBox="1"/>
          <p:nvPr/>
        </p:nvSpPr>
        <p:spPr>
          <a:xfrm>
            <a:off x="930336" y="2474673"/>
            <a:ext cx="903837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667" b="1" dirty="0">
                <a:latin typeface="Arial Narrow" panose="020B0606020202030204" pitchFamily="34" charset="0"/>
                <a:ea typeface="Verdana" panose="020B0604030504040204" pitchFamily="34" charset="0"/>
              </a:rPr>
              <a:t>51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D7F7CCE-2E86-0A95-708A-D8ABC422AE11}"/>
              </a:ext>
            </a:extLst>
          </p:cNvPr>
          <p:cNvSpPr txBox="1"/>
          <p:nvPr/>
        </p:nvSpPr>
        <p:spPr>
          <a:xfrm>
            <a:off x="1826578" y="2560126"/>
            <a:ext cx="4575686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ПРОЕКТОВ</a:t>
            </a:r>
            <a:endParaRPr lang="ru-RU" sz="1067" dirty="0">
              <a:latin typeface="Arial Narrow" panose="020B0606020202030204" pitchFamily="34" charset="0"/>
              <a:ea typeface="Verdana" panose="020B0604030504040204" pitchFamily="34" charset="0"/>
            </a:endParaRPr>
          </a:p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введены в эксплуатацию, стоимостью </a:t>
            </a:r>
            <a:r>
              <a:rPr lang="ru-RU" sz="1333" b="1" dirty="0">
                <a:latin typeface="Arial Narrow" panose="020B0606020202030204" pitchFamily="34" charset="0"/>
                <a:ea typeface="Verdana" panose="020B0604030504040204" pitchFamily="34" charset="0"/>
              </a:rPr>
              <a:t>586,6 млрд тенге</a:t>
            </a:r>
            <a:endParaRPr lang="ru-RU" sz="1333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76E0E60-93FA-E55B-0F2D-D26FBE99CDF5}"/>
              </a:ext>
            </a:extLst>
          </p:cNvPr>
          <p:cNvSpPr txBox="1"/>
          <p:nvPr/>
        </p:nvSpPr>
        <p:spPr>
          <a:xfrm>
            <a:off x="884223" y="3351981"/>
            <a:ext cx="11158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5 856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EBC1516D-5B5E-2784-9F33-A3BC202BEBF6}"/>
              </a:ext>
            </a:extLst>
          </p:cNvPr>
          <p:cNvSpPr txBox="1"/>
          <p:nvPr/>
        </p:nvSpPr>
        <p:spPr>
          <a:xfrm>
            <a:off x="1826578" y="3329034"/>
            <a:ext cx="3744013" cy="528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РАБОЧИХ МЕСТ</a:t>
            </a:r>
            <a:r>
              <a:rPr lang="ru-RU" sz="1067" dirty="0">
                <a:latin typeface="Arial Narrow" panose="020B0606020202030204" pitchFamily="34" charset="0"/>
                <a:ea typeface="Verdana" panose="020B0604030504040204" pitchFamily="34" charset="0"/>
              </a:rPr>
              <a:t> </a:t>
            </a:r>
            <a:r>
              <a:rPr lang="ru-RU" sz="1500" b="1" dirty="0">
                <a:latin typeface="Arial Narrow" panose="020B0606020202030204" pitchFamily="34" charset="0"/>
                <a:ea typeface="Verdana" panose="020B0604030504040204" pitchFamily="34" charset="0"/>
              </a:rPr>
              <a:t>*</a:t>
            </a:r>
          </a:p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создано на проектных мощностях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A5979259-2E9D-FA76-BC53-4C31F831E00C}"/>
              </a:ext>
            </a:extLst>
          </p:cNvPr>
          <p:cNvSpPr txBox="1"/>
          <p:nvPr/>
        </p:nvSpPr>
        <p:spPr>
          <a:xfrm>
            <a:off x="929739" y="5166084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1 2</a:t>
            </a:r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64</a:t>
            </a:r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 </a:t>
            </a:r>
            <a:endParaRPr lang="ru-RU" sz="2400" b="1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6E4C61C-C74F-0341-5A2B-536754AFE76B}"/>
              </a:ext>
            </a:extLst>
          </p:cNvPr>
          <p:cNvSpPr txBox="1"/>
          <p:nvPr/>
        </p:nvSpPr>
        <p:spPr>
          <a:xfrm>
            <a:off x="8357998" y="3590690"/>
            <a:ext cx="3833951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highlight>
                  <a:srgbClr val="000000">
                    <a:alpha val="0"/>
                  </a:srgbClr>
                </a:highlight>
                <a:latin typeface="Arial Narrow" panose="020B0606020202030204" pitchFamily="34" charset="0"/>
                <a:ea typeface="Verdana"/>
              </a:rPr>
              <a:t>Консолидированная чистая прибыль</a:t>
            </a:r>
            <a:r>
              <a:rPr lang="ru-RU" sz="2000" dirty="0">
                <a:highlight>
                  <a:srgbClr val="000000">
                    <a:alpha val="0"/>
                  </a:srgbClr>
                </a:highlight>
                <a:latin typeface="Arial Narrow" panose="020B0606020202030204" pitchFamily="34" charset="0"/>
                <a:ea typeface="Verdana"/>
              </a:rPr>
              <a:t>, </a:t>
            </a:r>
            <a:r>
              <a:rPr lang="ru-RU" sz="1500" dirty="0">
                <a:latin typeface="Arial Narrow" panose="020B0606020202030204" pitchFamily="34" charset="0"/>
              </a:rPr>
              <a:t>млрд тенге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CAB5A300-C596-53A3-A555-FE297F325ABF}"/>
              </a:ext>
            </a:extLst>
          </p:cNvPr>
          <p:cNvSpPr txBox="1"/>
          <p:nvPr/>
        </p:nvSpPr>
        <p:spPr>
          <a:xfrm>
            <a:off x="7298370" y="3659166"/>
            <a:ext cx="10251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34,1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3F09EF9C-2799-D18D-3BB3-A88F253880C2}"/>
              </a:ext>
            </a:extLst>
          </p:cNvPr>
          <p:cNvSpPr txBox="1"/>
          <p:nvPr/>
        </p:nvSpPr>
        <p:spPr>
          <a:xfrm>
            <a:off x="1885141" y="5153728"/>
            <a:ext cx="4530335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млн долларов США</a:t>
            </a:r>
            <a:endParaRPr lang="ru-RU" sz="1067" dirty="0">
              <a:latin typeface="Arial Narrow" panose="020B0606020202030204" pitchFamily="34" charset="0"/>
              <a:ea typeface="Verdana" panose="020B0604030504040204" pitchFamily="34" charset="0"/>
            </a:endParaRPr>
          </a:p>
          <a:p>
            <a:r>
              <a:rPr lang="ru-RU" sz="1333" dirty="0">
                <a:latin typeface="Arial Narrow" panose="020B0606020202030204" pitchFamily="34" charset="0"/>
                <a:ea typeface="Verdana" panose="020B0604030504040204" pitchFamily="34" charset="0"/>
              </a:rPr>
              <a:t>полное погашение 6 выпуска </a:t>
            </a:r>
            <a:r>
              <a:rPr lang="ru-RU" sz="1333" b="1" dirty="0">
                <a:latin typeface="Arial Narrow" panose="020B0606020202030204" pitchFamily="34" charset="0"/>
                <a:ea typeface="Verdana" panose="020B0604030504040204" pitchFamily="34" charset="0"/>
              </a:rPr>
              <a:t>еврооблигаций Банка</a:t>
            </a:r>
          </a:p>
        </p:txBody>
      </p:sp>
      <p:sp>
        <p:nvSpPr>
          <p:cNvPr id="132" name="Rectangle 260">
            <a:extLst>
              <a:ext uri="{FF2B5EF4-FFF2-40B4-BE49-F238E27FC236}">
                <a16:creationId xmlns:a16="http://schemas.microsoft.com/office/drawing/2014/main" id="{DC3899C0-25AA-D70F-ABA9-9FE6EF893F5A}"/>
              </a:ext>
            </a:extLst>
          </p:cNvPr>
          <p:cNvSpPr/>
          <p:nvPr/>
        </p:nvSpPr>
        <p:spPr bwMode="auto">
          <a:xfrm>
            <a:off x="3322082" y="866979"/>
            <a:ext cx="5314888" cy="299325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180000" bIns="45720" numCol="1" rtlCol="0" anchor="ctr" anchorCtr="0" compatLnSpc="1">
            <a:prstTxWarp prst="textNoShape">
              <a:avLst/>
            </a:prstTxWarp>
          </a:bodyPr>
          <a:lstStyle/>
          <a:p>
            <a:pPr marL="143996" defTabSz="914377">
              <a:spcBef>
                <a:spcPts val="400"/>
              </a:spcBef>
              <a:spcAft>
                <a:spcPts val="600"/>
              </a:spcAft>
              <a:defRPr/>
            </a:pPr>
            <a:r>
              <a:rPr lang="ru-RU" b="1" kern="0" dirty="0">
                <a:latin typeface="Arial Narrow" panose="020B0606020202030204" pitchFamily="34" charset="0"/>
                <a:ea typeface="ヒラギノ角ゴ Pro W3" pitchFamily="124" charset="-128"/>
              </a:rPr>
              <a:t>ОСНОВНЫЕ СОБЫТИЯ ЗА 2022 ГОД</a:t>
            </a:r>
          </a:p>
        </p:txBody>
      </p:sp>
      <p:sp>
        <p:nvSpPr>
          <p:cNvPr id="133" name="Rectangle 261">
            <a:extLst>
              <a:ext uri="{FF2B5EF4-FFF2-40B4-BE49-F238E27FC236}">
                <a16:creationId xmlns:a16="http://schemas.microsoft.com/office/drawing/2014/main" id="{0777010D-5AE6-894F-BD0B-8B9A184E2EFA}"/>
              </a:ext>
            </a:extLst>
          </p:cNvPr>
          <p:cNvSpPr/>
          <p:nvPr/>
        </p:nvSpPr>
        <p:spPr bwMode="auto">
          <a:xfrm flipH="1">
            <a:off x="3322082" y="863831"/>
            <a:ext cx="45719" cy="295571"/>
          </a:xfrm>
          <a:prstGeom prst="rect">
            <a:avLst/>
          </a:prstGeom>
          <a:solidFill>
            <a:srgbClr val="007A4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GB" sz="1000" kern="0" baseline="30000" dirty="0">
              <a:solidFill>
                <a:srgbClr val="000000"/>
              </a:solidFill>
              <a:latin typeface="Arial" pitchFamily="34" charset="0"/>
              <a:ea typeface="ヒラギノ角ゴ Pro W3" pitchFamily="124" charset="-128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64F9762E-6122-A460-E9B2-7EDAD19FEEF3}"/>
              </a:ext>
            </a:extLst>
          </p:cNvPr>
          <p:cNvSpPr txBox="1"/>
          <p:nvPr/>
        </p:nvSpPr>
        <p:spPr>
          <a:xfrm>
            <a:off x="8357998" y="1627518"/>
            <a:ext cx="2453545" cy="58160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>
                <a:highlight>
                  <a:srgbClr val="000000">
                    <a:alpha val="0"/>
                  </a:srgbClr>
                </a:highlight>
                <a:latin typeface="Arial Narrow" panose="020B0606020202030204" pitchFamily="34" charset="0"/>
                <a:ea typeface="Verdana"/>
              </a:rPr>
              <a:t>Активы, </a:t>
            </a:r>
            <a:r>
              <a:rPr lang="ru-RU" sz="1500" b="0" dirty="0">
                <a:solidFill>
                  <a:schemeClr val="tx1"/>
                </a:solidFill>
                <a:latin typeface="Arial Narrow" panose="020B0606020202030204" pitchFamily="34" charset="0"/>
              </a:rPr>
              <a:t>млрд тен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Arial Narrow" panose="020B0606020202030204" pitchFamily="34" charset="0"/>
              <a:ea typeface="Verdana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07973715-C24D-8CE8-0268-9C6F7002D1D4}"/>
              </a:ext>
            </a:extLst>
          </p:cNvPr>
          <p:cNvSpPr txBox="1"/>
          <p:nvPr/>
        </p:nvSpPr>
        <p:spPr>
          <a:xfrm>
            <a:off x="8351840" y="2914899"/>
            <a:ext cx="3304093" cy="48805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>
                <a:highlight>
                  <a:srgbClr val="000000">
                    <a:alpha val="0"/>
                  </a:srgbClr>
                </a:highlight>
                <a:latin typeface="Arial Narrow" panose="020B0606020202030204" pitchFamily="34" charset="0"/>
                <a:ea typeface="Verdana"/>
              </a:rPr>
              <a:t>Собственный капитал, </a:t>
            </a:r>
            <a:r>
              <a:rPr lang="ru-RU" sz="1500" b="0" dirty="0">
                <a:solidFill>
                  <a:schemeClr val="tx1"/>
                </a:solidFill>
                <a:latin typeface="Arial Narrow" panose="020B0606020202030204" pitchFamily="34" charset="0"/>
              </a:rPr>
              <a:t>млрд тен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Arial Narrow" panose="020B0606020202030204" pitchFamily="34" charset="0"/>
              <a:ea typeface="Verdana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20008A3-2CF7-6CCD-62D9-3D14D16E2A59}"/>
              </a:ext>
            </a:extLst>
          </p:cNvPr>
          <p:cNvSpPr txBox="1"/>
          <p:nvPr/>
        </p:nvSpPr>
        <p:spPr>
          <a:xfrm>
            <a:off x="6813945" y="1556792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</a:rPr>
              <a:t>3</a:t>
            </a:r>
            <a:r>
              <a:rPr lang="en-US" sz="2400" dirty="0">
                <a:solidFill>
                  <a:schemeClr val="tx1"/>
                </a:solidFill>
                <a:latin typeface="Arial Narrow" panose="020B0606020202030204" pitchFamily="34" charset="0"/>
              </a:rPr>
              <a:t> 94</a:t>
            </a:r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</a:rPr>
              <a:t>3</a:t>
            </a:r>
            <a:endParaRPr lang="en-US" sz="1300" b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endParaRPr lang="en" sz="2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9AF05144-0D96-67FA-0C0D-E3EFCDAB425A}"/>
              </a:ext>
            </a:extLst>
          </p:cNvPr>
          <p:cNvSpPr txBox="1"/>
          <p:nvPr/>
        </p:nvSpPr>
        <p:spPr>
          <a:xfrm>
            <a:off x="6902139" y="2887214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</a:rPr>
              <a:t>614</a:t>
            </a:r>
            <a:endParaRPr lang="en-US" sz="1330" b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en-US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endParaRPr lang="en" sz="2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138" name="Picture 25">
            <a:extLst>
              <a:ext uri="{FF2B5EF4-FFF2-40B4-BE49-F238E27FC236}">
                <a16:creationId xmlns:a16="http://schemas.microsoft.com/office/drawing/2014/main" id="{0FE8E354-4289-A14B-DADD-8B0F9CA19B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89" y="6047154"/>
            <a:ext cx="12022127" cy="257934"/>
          </a:xfrm>
          <a:prstGeom prst="rect">
            <a:avLst/>
          </a:prstGeom>
        </p:spPr>
      </p:pic>
      <p:pic>
        <p:nvPicPr>
          <p:cNvPr id="139" name="Рисунок 41" descr="Налог со сплошной заливкой">
            <a:extLst>
              <a:ext uri="{FF2B5EF4-FFF2-40B4-BE49-F238E27FC236}">
                <a16:creationId xmlns:a16="http://schemas.microsoft.com/office/drawing/2014/main" id="{11F4A98C-8CA6-4BB7-0C3A-723BB7B5A2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582188" y="4349620"/>
            <a:ext cx="593932" cy="529265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1224E0B7-B34C-270E-C550-B0600CDBECB9}"/>
              </a:ext>
            </a:extLst>
          </p:cNvPr>
          <p:cNvSpPr txBox="1"/>
          <p:nvPr/>
        </p:nvSpPr>
        <p:spPr>
          <a:xfrm>
            <a:off x="8351282" y="4386080"/>
            <a:ext cx="3710196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млрд тенге выплачены дивиденды Единственному Акционеру по итогам 2021 года  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BE8999D7-2D0A-2CB3-9D59-37D10CFA69B2}"/>
              </a:ext>
            </a:extLst>
          </p:cNvPr>
          <p:cNvSpPr txBox="1"/>
          <p:nvPr/>
        </p:nvSpPr>
        <p:spPr>
          <a:xfrm>
            <a:off x="7296650" y="4376145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15,7  </a:t>
            </a:r>
            <a:endParaRPr lang="ru-RU" sz="2400" b="1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grpSp>
        <p:nvGrpSpPr>
          <p:cNvPr id="142" name="Group 322">
            <a:extLst>
              <a:ext uri="{FF2B5EF4-FFF2-40B4-BE49-F238E27FC236}">
                <a16:creationId xmlns:a16="http://schemas.microsoft.com/office/drawing/2014/main" id="{0BC41C92-A138-4EC4-8FC5-44F589B45859}"/>
              </a:ext>
            </a:extLst>
          </p:cNvPr>
          <p:cNvGrpSpPr/>
          <p:nvPr/>
        </p:nvGrpSpPr>
        <p:grpSpPr>
          <a:xfrm>
            <a:off x="6567574" y="5125923"/>
            <a:ext cx="545334" cy="467579"/>
            <a:chOff x="4505889" y="928787"/>
            <a:chExt cx="842963" cy="793751"/>
          </a:xfrm>
          <a:solidFill>
            <a:srgbClr val="007A40"/>
          </a:solidFill>
        </p:grpSpPr>
        <p:sp>
          <p:nvSpPr>
            <p:cNvPr id="143" name="Freeform 291">
              <a:extLst>
                <a:ext uri="{FF2B5EF4-FFF2-40B4-BE49-F238E27FC236}">
                  <a16:creationId xmlns:a16="http://schemas.microsoft.com/office/drawing/2014/main" id="{378D45BC-0959-8B63-94CF-562B70A0D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7164" y="1444725"/>
              <a:ext cx="801688" cy="277813"/>
            </a:xfrm>
            <a:custGeom>
              <a:avLst/>
              <a:gdLst>
                <a:gd name="T0" fmla="*/ 134 w 252"/>
                <a:gd name="T1" fmla="*/ 87 h 87"/>
                <a:gd name="T2" fmla="*/ 37 w 252"/>
                <a:gd name="T3" fmla="*/ 55 h 87"/>
                <a:gd name="T4" fmla="*/ 4 w 252"/>
                <a:gd name="T5" fmla="*/ 56 h 87"/>
                <a:gd name="T6" fmla="*/ 4 w 252"/>
                <a:gd name="T7" fmla="*/ 56 h 87"/>
                <a:gd name="T8" fmla="*/ 0 w 252"/>
                <a:gd name="T9" fmla="*/ 52 h 87"/>
                <a:gd name="T10" fmla="*/ 4 w 252"/>
                <a:gd name="T11" fmla="*/ 48 h 87"/>
                <a:gd name="T12" fmla="*/ 38 w 252"/>
                <a:gd name="T13" fmla="*/ 47 h 87"/>
                <a:gd name="T14" fmla="*/ 39 w 252"/>
                <a:gd name="T15" fmla="*/ 48 h 87"/>
                <a:gd name="T16" fmla="*/ 145 w 252"/>
                <a:gd name="T17" fmla="*/ 78 h 87"/>
                <a:gd name="T18" fmla="*/ 195 w 252"/>
                <a:gd name="T19" fmla="*/ 62 h 87"/>
                <a:gd name="T20" fmla="*/ 243 w 252"/>
                <a:gd name="T21" fmla="*/ 13 h 87"/>
                <a:gd name="T22" fmla="*/ 243 w 252"/>
                <a:gd name="T23" fmla="*/ 13 h 87"/>
                <a:gd name="T24" fmla="*/ 237 w 252"/>
                <a:gd name="T25" fmla="*/ 10 h 87"/>
                <a:gd name="T26" fmla="*/ 219 w 252"/>
                <a:gd name="T27" fmla="*/ 15 h 87"/>
                <a:gd name="T28" fmla="*/ 185 w 252"/>
                <a:gd name="T29" fmla="*/ 47 h 87"/>
                <a:gd name="T30" fmla="*/ 139 w 252"/>
                <a:gd name="T31" fmla="*/ 51 h 87"/>
                <a:gd name="T32" fmla="*/ 129 w 252"/>
                <a:gd name="T33" fmla="*/ 49 h 87"/>
                <a:gd name="T34" fmla="*/ 128 w 252"/>
                <a:gd name="T35" fmla="*/ 49 h 87"/>
                <a:gd name="T36" fmla="*/ 113 w 252"/>
                <a:gd name="T37" fmla="*/ 43 h 87"/>
                <a:gd name="T38" fmla="*/ 110 w 252"/>
                <a:gd name="T39" fmla="*/ 38 h 87"/>
                <a:gd name="T40" fmla="*/ 116 w 252"/>
                <a:gd name="T41" fmla="*/ 36 h 87"/>
                <a:gd name="T42" fmla="*/ 131 w 252"/>
                <a:gd name="T43" fmla="*/ 41 h 87"/>
                <a:gd name="T44" fmla="*/ 141 w 252"/>
                <a:gd name="T45" fmla="*/ 43 h 87"/>
                <a:gd name="T46" fmla="*/ 182 w 252"/>
                <a:gd name="T47" fmla="*/ 39 h 87"/>
                <a:gd name="T48" fmla="*/ 214 w 252"/>
                <a:gd name="T49" fmla="*/ 10 h 87"/>
                <a:gd name="T50" fmla="*/ 247 w 252"/>
                <a:gd name="T51" fmla="*/ 6 h 87"/>
                <a:gd name="T52" fmla="*/ 250 w 252"/>
                <a:gd name="T53" fmla="*/ 17 h 87"/>
                <a:gd name="T54" fmla="*/ 200 w 252"/>
                <a:gd name="T55" fmla="*/ 68 h 87"/>
                <a:gd name="T56" fmla="*/ 146 w 252"/>
                <a:gd name="T57" fmla="*/ 86 h 87"/>
                <a:gd name="T58" fmla="*/ 134 w 252"/>
                <a:gd name="T5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2" h="87">
                  <a:moveTo>
                    <a:pt x="134" y="87"/>
                  </a:moveTo>
                  <a:cubicBezTo>
                    <a:pt x="96" y="87"/>
                    <a:pt x="44" y="60"/>
                    <a:pt x="37" y="55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49"/>
                    <a:pt x="2" y="48"/>
                    <a:pt x="4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9" y="47"/>
                    <a:pt x="39" y="48"/>
                  </a:cubicBezTo>
                  <a:cubicBezTo>
                    <a:pt x="40" y="48"/>
                    <a:pt x="108" y="86"/>
                    <a:pt x="145" y="78"/>
                  </a:cubicBezTo>
                  <a:cubicBezTo>
                    <a:pt x="163" y="74"/>
                    <a:pt x="191" y="66"/>
                    <a:pt x="195" y="62"/>
                  </a:cubicBezTo>
                  <a:cubicBezTo>
                    <a:pt x="206" y="54"/>
                    <a:pt x="235" y="29"/>
                    <a:pt x="243" y="13"/>
                  </a:cubicBezTo>
                  <a:cubicBezTo>
                    <a:pt x="243" y="13"/>
                    <a:pt x="243" y="13"/>
                    <a:pt x="243" y="13"/>
                  </a:cubicBezTo>
                  <a:cubicBezTo>
                    <a:pt x="242" y="12"/>
                    <a:pt x="240" y="11"/>
                    <a:pt x="237" y="10"/>
                  </a:cubicBezTo>
                  <a:cubicBezTo>
                    <a:pt x="231" y="10"/>
                    <a:pt x="224" y="10"/>
                    <a:pt x="219" y="15"/>
                  </a:cubicBezTo>
                  <a:cubicBezTo>
                    <a:pt x="219" y="15"/>
                    <a:pt x="191" y="44"/>
                    <a:pt x="185" y="47"/>
                  </a:cubicBezTo>
                  <a:cubicBezTo>
                    <a:pt x="168" y="54"/>
                    <a:pt x="160" y="53"/>
                    <a:pt x="139" y="51"/>
                  </a:cubicBezTo>
                  <a:cubicBezTo>
                    <a:pt x="136" y="50"/>
                    <a:pt x="133" y="50"/>
                    <a:pt x="129" y="49"/>
                  </a:cubicBezTo>
                  <a:cubicBezTo>
                    <a:pt x="129" y="49"/>
                    <a:pt x="129" y="49"/>
                    <a:pt x="128" y="49"/>
                  </a:cubicBezTo>
                  <a:cubicBezTo>
                    <a:pt x="128" y="49"/>
                    <a:pt x="119" y="46"/>
                    <a:pt x="113" y="43"/>
                  </a:cubicBezTo>
                  <a:cubicBezTo>
                    <a:pt x="111" y="42"/>
                    <a:pt x="110" y="40"/>
                    <a:pt x="110" y="38"/>
                  </a:cubicBezTo>
                  <a:cubicBezTo>
                    <a:pt x="111" y="36"/>
                    <a:pt x="114" y="35"/>
                    <a:pt x="116" y="36"/>
                  </a:cubicBezTo>
                  <a:cubicBezTo>
                    <a:pt x="121" y="38"/>
                    <a:pt x="129" y="41"/>
                    <a:pt x="131" y="41"/>
                  </a:cubicBezTo>
                  <a:cubicBezTo>
                    <a:pt x="134" y="42"/>
                    <a:pt x="138" y="42"/>
                    <a:pt x="141" y="43"/>
                  </a:cubicBezTo>
                  <a:cubicBezTo>
                    <a:pt x="161" y="45"/>
                    <a:pt x="167" y="46"/>
                    <a:pt x="182" y="39"/>
                  </a:cubicBezTo>
                  <a:cubicBezTo>
                    <a:pt x="186" y="38"/>
                    <a:pt x="208" y="16"/>
                    <a:pt x="214" y="10"/>
                  </a:cubicBezTo>
                  <a:cubicBezTo>
                    <a:pt x="223" y="0"/>
                    <a:pt x="241" y="1"/>
                    <a:pt x="247" y="6"/>
                  </a:cubicBezTo>
                  <a:cubicBezTo>
                    <a:pt x="251" y="9"/>
                    <a:pt x="252" y="13"/>
                    <a:pt x="250" y="17"/>
                  </a:cubicBezTo>
                  <a:cubicBezTo>
                    <a:pt x="239" y="38"/>
                    <a:pt x="201" y="68"/>
                    <a:pt x="200" y="68"/>
                  </a:cubicBezTo>
                  <a:cubicBezTo>
                    <a:pt x="193" y="74"/>
                    <a:pt x="161" y="83"/>
                    <a:pt x="146" y="86"/>
                  </a:cubicBezTo>
                  <a:cubicBezTo>
                    <a:pt x="143" y="87"/>
                    <a:pt x="138" y="87"/>
                    <a:pt x="134" y="87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4" name="Freeform 292">
              <a:extLst>
                <a:ext uri="{FF2B5EF4-FFF2-40B4-BE49-F238E27FC236}">
                  <a16:creationId xmlns:a16="http://schemas.microsoft.com/office/drawing/2014/main" id="{FB7FA0E7-3CF0-E914-284D-2688E8270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989" y="1355825"/>
              <a:ext cx="550863" cy="244475"/>
            </a:xfrm>
            <a:custGeom>
              <a:avLst/>
              <a:gdLst>
                <a:gd name="T0" fmla="*/ 138 w 173"/>
                <a:gd name="T1" fmla="*/ 77 h 77"/>
                <a:gd name="T2" fmla="*/ 133 w 173"/>
                <a:gd name="T3" fmla="*/ 77 h 77"/>
                <a:gd name="T4" fmla="*/ 132 w 173"/>
                <a:gd name="T5" fmla="*/ 77 h 77"/>
                <a:gd name="T6" fmla="*/ 128 w 173"/>
                <a:gd name="T7" fmla="*/ 73 h 77"/>
                <a:gd name="T8" fmla="*/ 132 w 173"/>
                <a:gd name="T9" fmla="*/ 69 h 77"/>
                <a:gd name="T10" fmla="*/ 132 w 173"/>
                <a:gd name="T11" fmla="*/ 69 h 77"/>
                <a:gd name="T12" fmla="*/ 133 w 173"/>
                <a:gd name="T13" fmla="*/ 69 h 77"/>
                <a:gd name="T14" fmla="*/ 163 w 173"/>
                <a:gd name="T15" fmla="*/ 59 h 77"/>
                <a:gd name="T16" fmla="*/ 134 w 173"/>
                <a:gd name="T17" fmla="*/ 47 h 77"/>
                <a:gd name="T18" fmla="*/ 118 w 173"/>
                <a:gd name="T19" fmla="*/ 43 h 77"/>
                <a:gd name="T20" fmla="*/ 87 w 173"/>
                <a:gd name="T21" fmla="*/ 28 h 77"/>
                <a:gd name="T22" fmla="*/ 71 w 173"/>
                <a:gd name="T23" fmla="*/ 16 h 77"/>
                <a:gd name="T24" fmla="*/ 45 w 173"/>
                <a:gd name="T25" fmla="*/ 10 h 77"/>
                <a:gd name="T26" fmla="*/ 20 w 173"/>
                <a:gd name="T27" fmla="*/ 31 h 77"/>
                <a:gd name="T28" fmla="*/ 16 w 173"/>
                <a:gd name="T29" fmla="*/ 33 h 77"/>
                <a:gd name="T30" fmla="*/ 4 w 173"/>
                <a:gd name="T31" fmla="*/ 34 h 77"/>
                <a:gd name="T32" fmla="*/ 4 w 173"/>
                <a:gd name="T33" fmla="*/ 34 h 77"/>
                <a:gd name="T34" fmla="*/ 0 w 173"/>
                <a:gd name="T35" fmla="*/ 30 h 77"/>
                <a:gd name="T36" fmla="*/ 4 w 173"/>
                <a:gd name="T37" fmla="*/ 26 h 77"/>
                <a:gd name="T38" fmla="*/ 14 w 173"/>
                <a:gd name="T39" fmla="*/ 25 h 77"/>
                <a:gd name="T40" fmla="*/ 43 w 173"/>
                <a:gd name="T41" fmla="*/ 3 h 77"/>
                <a:gd name="T42" fmla="*/ 75 w 173"/>
                <a:gd name="T43" fmla="*/ 9 h 77"/>
                <a:gd name="T44" fmla="*/ 92 w 173"/>
                <a:gd name="T45" fmla="*/ 21 h 77"/>
                <a:gd name="T46" fmla="*/ 120 w 173"/>
                <a:gd name="T47" fmla="*/ 35 h 77"/>
                <a:gd name="T48" fmla="*/ 136 w 173"/>
                <a:gd name="T49" fmla="*/ 39 h 77"/>
                <a:gd name="T50" fmla="*/ 171 w 173"/>
                <a:gd name="T51" fmla="*/ 60 h 77"/>
                <a:gd name="T52" fmla="*/ 138 w 173"/>
                <a:gd name="T5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77">
                  <a:moveTo>
                    <a:pt x="138" y="77"/>
                  </a:moveTo>
                  <a:cubicBezTo>
                    <a:pt x="136" y="77"/>
                    <a:pt x="134" y="77"/>
                    <a:pt x="133" y="7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30" y="77"/>
                    <a:pt x="128" y="75"/>
                    <a:pt x="128" y="73"/>
                  </a:cubicBezTo>
                  <a:cubicBezTo>
                    <a:pt x="128" y="71"/>
                    <a:pt x="130" y="69"/>
                    <a:pt x="132" y="69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3" y="69"/>
                    <a:pt x="133" y="69"/>
                    <a:pt x="133" y="69"/>
                  </a:cubicBezTo>
                  <a:cubicBezTo>
                    <a:pt x="142" y="70"/>
                    <a:pt x="163" y="70"/>
                    <a:pt x="163" y="59"/>
                  </a:cubicBezTo>
                  <a:cubicBezTo>
                    <a:pt x="164" y="53"/>
                    <a:pt x="148" y="50"/>
                    <a:pt x="134" y="47"/>
                  </a:cubicBezTo>
                  <a:cubicBezTo>
                    <a:pt x="129" y="45"/>
                    <a:pt x="123" y="44"/>
                    <a:pt x="118" y="43"/>
                  </a:cubicBezTo>
                  <a:cubicBezTo>
                    <a:pt x="103" y="40"/>
                    <a:pt x="97" y="35"/>
                    <a:pt x="87" y="28"/>
                  </a:cubicBezTo>
                  <a:cubicBezTo>
                    <a:pt x="83" y="25"/>
                    <a:pt x="78" y="21"/>
                    <a:pt x="71" y="16"/>
                  </a:cubicBezTo>
                  <a:cubicBezTo>
                    <a:pt x="62" y="10"/>
                    <a:pt x="54" y="9"/>
                    <a:pt x="45" y="10"/>
                  </a:cubicBezTo>
                  <a:cubicBezTo>
                    <a:pt x="30" y="14"/>
                    <a:pt x="20" y="31"/>
                    <a:pt x="20" y="31"/>
                  </a:cubicBezTo>
                  <a:cubicBezTo>
                    <a:pt x="19" y="33"/>
                    <a:pt x="18" y="33"/>
                    <a:pt x="16" y="3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2" y="34"/>
                    <a:pt x="0" y="32"/>
                    <a:pt x="0" y="30"/>
                  </a:cubicBezTo>
                  <a:cubicBezTo>
                    <a:pt x="0" y="27"/>
                    <a:pt x="2" y="26"/>
                    <a:pt x="4" y="26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0"/>
                    <a:pt x="28" y="7"/>
                    <a:pt x="43" y="3"/>
                  </a:cubicBezTo>
                  <a:cubicBezTo>
                    <a:pt x="54" y="0"/>
                    <a:pt x="64" y="2"/>
                    <a:pt x="75" y="9"/>
                  </a:cubicBezTo>
                  <a:cubicBezTo>
                    <a:pt x="82" y="14"/>
                    <a:pt x="88" y="18"/>
                    <a:pt x="92" y="21"/>
                  </a:cubicBezTo>
                  <a:cubicBezTo>
                    <a:pt x="102" y="29"/>
                    <a:pt x="106" y="32"/>
                    <a:pt x="120" y="35"/>
                  </a:cubicBezTo>
                  <a:cubicBezTo>
                    <a:pt x="125" y="36"/>
                    <a:pt x="131" y="38"/>
                    <a:pt x="136" y="39"/>
                  </a:cubicBezTo>
                  <a:cubicBezTo>
                    <a:pt x="155" y="43"/>
                    <a:pt x="173" y="47"/>
                    <a:pt x="171" y="60"/>
                  </a:cubicBezTo>
                  <a:cubicBezTo>
                    <a:pt x="170" y="76"/>
                    <a:pt x="151" y="77"/>
                    <a:pt x="138" y="77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5" name="Freeform 293">
              <a:extLst>
                <a:ext uri="{FF2B5EF4-FFF2-40B4-BE49-F238E27FC236}">
                  <a16:creationId xmlns:a16="http://schemas.microsoft.com/office/drawing/2014/main" id="{27D3077B-47D9-391D-0625-33F6E7D636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5889" y="1412975"/>
              <a:ext cx="63500" cy="247650"/>
            </a:xfrm>
            <a:custGeom>
              <a:avLst/>
              <a:gdLst>
                <a:gd name="T0" fmla="*/ 16 w 20"/>
                <a:gd name="T1" fmla="*/ 78 h 78"/>
                <a:gd name="T2" fmla="*/ 4 w 20"/>
                <a:gd name="T3" fmla="*/ 78 h 78"/>
                <a:gd name="T4" fmla="*/ 0 w 20"/>
                <a:gd name="T5" fmla="*/ 74 h 78"/>
                <a:gd name="T6" fmla="*/ 4 w 20"/>
                <a:gd name="T7" fmla="*/ 70 h 78"/>
                <a:gd name="T8" fmla="*/ 12 w 20"/>
                <a:gd name="T9" fmla="*/ 70 h 78"/>
                <a:gd name="T10" fmla="*/ 12 w 20"/>
                <a:gd name="T11" fmla="*/ 8 h 78"/>
                <a:gd name="T12" fmla="*/ 4 w 20"/>
                <a:gd name="T13" fmla="*/ 8 h 78"/>
                <a:gd name="T14" fmla="*/ 0 w 20"/>
                <a:gd name="T15" fmla="*/ 4 h 78"/>
                <a:gd name="T16" fmla="*/ 4 w 20"/>
                <a:gd name="T17" fmla="*/ 0 h 78"/>
                <a:gd name="T18" fmla="*/ 16 w 20"/>
                <a:gd name="T19" fmla="*/ 0 h 78"/>
                <a:gd name="T20" fmla="*/ 20 w 20"/>
                <a:gd name="T21" fmla="*/ 4 h 78"/>
                <a:gd name="T22" fmla="*/ 20 w 20"/>
                <a:gd name="T23" fmla="*/ 74 h 78"/>
                <a:gd name="T24" fmla="*/ 16 w 20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78">
                  <a:moveTo>
                    <a:pt x="16" y="78"/>
                  </a:moveTo>
                  <a:cubicBezTo>
                    <a:pt x="4" y="78"/>
                    <a:pt x="4" y="78"/>
                    <a:pt x="4" y="78"/>
                  </a:cubicBezTo>
                  <a:cubicBezTo>
                    <a:pt x="2" y="78"/>
                    <a:pt x="0" y="76"/>
                    <a:pt x="0" y="74"/>
                  </a:cubicBezTo>
                  <a:cubicBezTo>
                    <a:pt x="0" y="72"/>
                    <a:pt x="2" y="70"/>
                    <a:pt x="4" y="70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20" y="76"/>
                    <a:pt x="18" y="78"/>
                    <a:pt x="16" y="78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6" name="Freeform 294">
              <a:extLst>
                <a:ext uri="{FF2B5EF4-FFF2-40B4-BE49-F238E27FC236}">
                  <a16:creationId xmlns:a16="http://schemas.microsoft.com/office/drawing/2014/main" id="{183CDD49-496C-FBF5-08B6-944334F87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0401" y="1425675"/>
              <a:ext cx="104775" cy="66675"/>
            </a:xfrm>
            <a:custGeom>
              <a:avLst/>
              <a:gdLst>
                <a:gd name="T0" fmla="*/ 4 w 33"/>
                <a:gd name="T1" fmla="*/ 21 h 21"/>
                <a:gd name="T2" fmla="*/ 0 w 33"/>
                <a:gd name="T3" fmla="*/ 17 h 21"/>
                <a:gd name="T4" fmla="*/ 4 w 33"/>
                <a:gd name="T5" fmla="*/ 13 h 21"/>
                <a:gd name="T6" fmla="*/ 25 w 33"/>
                <a:gd name="T7" fmla="*/ 4 h 21"/>
                <a:gd name="T8" fmla="*/ 29 w 33"/>
                <a:gd name="T9" fmla="*/ 0 h 21"/>
                <a:gd name="T10" fmla="*/ 33 w 33"/>
                <a:gd name="T11" fmla="*/ 4 h 21"/>
                <a:gd name="T12" fmla="*/ 5 w 33"/>
                <a:gd name="T13" fmla="*/ 21 h 21"/>
                <a:gd name="T14" fmla="*/ 4 w 3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21">
                  <a:moveTo>
                    <a:pt x="4" y="21"/>
                  </a:moveTo>
                  <a:cubicBezTo>
                    <a:pt x="2" y="21"/>
                    <a:pt x="1" y="19"/>
                    <a:pt x="0" y="17"/>
                  </a:cubicBezTo>
                  <a:cubicBezTo>
                    <a:pt x="0" y="15"/>
                    <a:pt x="2" y="13"/>
                    <a:pt x="4" y="13"/>
                  </a:cubicBezTo>
                  <a:cubicBezTo>
                    <a:pt x="19" y="11"/>
                    <a:pt x="25" y="6"/>
                    <a:pt x="25" y="4"/>
                  </a:cubicBezTo>
                  <a:cubicBezTo>
                    <a:pt x="25" y="1"/>
                    <a:pt x="27" y="0"/>
                    <a:pt x="29" y="0"/>
                  </a:cubicBezTo>
                  <a:cubicBezTo>
                    <a:pt x="31" y="0"/>
                    <a:pt x="33" y="1"/>
                    <a:pt x="33" y="4"/>
                  </a:cubicBezTo>
                  <a:cubicBezTo>
                    <a:pt x="33" y="12"/>
                    <a:pt x="22" y="18"/>
                    <a:pt x="5" y="21"/>
                  </a:cubicBezTo>
                  <a:cubicBezTo>
                    <a:pt x="5" y="21"/>
                    <a:pt x="4" y="21"/>
                    <a:pt x="4" y="21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7" name="Freeform 295">
              <a:extLst>
                <a:ext uri="{FF2B5EF4-FFF2-40B4-BE49-F238E27FC236}">
                  <a16:creationId xmlns:a16="http://schemas.microsoft.com/office/drawing/2014/main" id="{933E3958-B4BE-0604-F23D-732AA8E137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201" y="1482825"/>
              <a:ext cx="53975" cy="53975"/>
            </a:xfrm>
            <a:custGeom>
              <a:avLst/>
              <a:gdLst>
                <a:gd name="T0" fmla="*/ 5 w 17"/>
                <a:gd name="T1" fmla="*/ 17 h 17"/>
                <a:gd name="T2" fmla="*/ 1 w 17"/>
                <a:gd name="T3" fmla="*/ 14 h 17"/>
                <a:gd name="T4" fmla="*/ 4 w 17"/>
                <a:gd name="T5" fmla="*/ 9 h 17"/>
                <a:gd name="T6" fmla="*/ 9 w 17"/>
                <a:gd name="T7" fmla="*/ 4 h 17"/>
                <a:gd name="T8" fmla="*/ 13 w 17"/>
                <a:gd name="T9" fmla="*/ 0 h 17"/>
                <a:gd name="T10" fmla="*/ 17 w 17"/>
                <a:gd name="T11" fmla="*/ 4 h 17"/>
                <a:gd name="T12" fmla="*/ 6 w 17"/>
                <a:gd name="T13" fmla="*/ 16 h 17"/>
                <a:gd name="T14" fmla="*/ 5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cubicBezTo>
                    <a:pt x="3" y="17"/>
                    <a:pt x="2" y="16"/>
                    <a:pt x="1" y="14"/>
                  </a:cubicBezTo>
                  <a:cubicBezTo>
                    <a:pt x="0" y="12"/>
                    <a:pt x="2" y="10"/>
                    <a:pt x="4" y="9"/>
                  </a:cubicBezTo>
                  <a:cubicBezTo>
                    <a:pt x="9" y="7"/>
                    <a:pt x="9" y="6"/>
                    <a:pt x="9" y="4"/>
                  </a:cubicBezTo>
                  <a:cubicBezTo>
                    <a:pt x="9" y="2"/>
                    <a:pt x="11" y="0"/>
                    <a:pt x="13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11"/>
                    <a:pt x="13" y="14"/>
                    <a:pt x="6" y="16"/>
                  </a:cubicBezTo>
                  <a:cubicBezTo>
                    <a:pt x="6" y="16"/>
                    <a:pt x="5" y="17"/>
                    <a:pt x="5" y="17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8" name="Freeform 296">
              <a:extLst>
                <a:ext uri="{FF2B5EF4-FFF2-40B4-BE49-F238E27FC236}">
                  <a16:creationId xmlns:a16="http://schemas.microsoft.com/office/drawing/2014/main" id="{F8B4D721-2D4D-7B5F-0086-EC52C3375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9776" y="1355825"/>
              <a:ext cx="25400" cy="184150"/>
            </a:xfrm>
            <a:custGeom>
              <a:avLst/>
              <a:gdLst>
                <a:gd name="T0" fmla="*/ 4 w 8"/>
                <a:gd name="T1" fmla="*/ 58 h 58"/>
                <a:gd name="T2" fmla="*/ 0 w 8"/>
                <a:gd name="T3" fmla="*/ 54 h 58"/>
                <a:gd name="T4" fmla="*/ 0 w 8"/>
                <a:gd name="T5" fmla="*/ 4 h 58"/>
                <a:gd name="T6" fmla="*/ 4 w 8"/>
                <a:gd name="T7" fmla="*/ 0 h 58"/>
                <a:gd name="T8" fmla="*/ 8 w 8"/>
                <a:gd name="T9" fmla="*/ 4 h 58"/>
                <a:gd name="T10" fmla="*/ 8 w 8"/>
                <a:gd name="T11" fmla="*/ 54 h 58"/>
                <a:gd name="T12" fmla="*/ 4 w 8"/>
                <a:gd name="T1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8">
                  <a:moveTo>
                    <a:pt x="4" y="58"/>
                  </a:moveTo>
                  <a:cubicBezTo>
                    <a:pt x="2" y="58"/>
                    <a:pt x="0" y="56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6"/>
                    <a:pt x="6" y="58"/>
                    <a:pt x="4" y="58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49" name="Freeform 297">
              <a:extLst>
                <a:ext uri="{FF2B5EF4-FFF2-40B4-BE49-F238E27FC236}">
                  <a16:creationId xmlns:a16="http://schemas.microsoft.com/office/drawing/2014/main" id="{F6F8A014-E954-976D-01DE-5B2A94D79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55825"/>
              <a:ext cx="25400" cy="8255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0" name="Freeform 298">
              <a:extLst>
                <a:ext uri="{FF2B5EF4-FFF2-40B4-BE49-F238E27FC236}">
                  <a16:creationId xmlns:a16="http://schemas.microsoft.com/office/drawing/2014/main" id="{B8C15B68-6221-169E-E5B0-420F9DB50A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8476" y="1270100"/>
              <a:ext cx="266700" cy="114300"/>
            </a:xfrm>
            <a:custGeom>
              <a:avLst/>
              <a:gdLst>
                <a:gd name="T0" fmla="*/ 42 w 84"/>
                <a:gd name="T1" fmla="*/ 36 h 36"/>
                <a:gd name="T2" fmla="*/ 0 w 84"/>
                <a:gd name="T3" fmla="*/ 18 h 36"/>
                <a:gd name="T4" fmla="*/ 42 w 84"/>
                <a:gd name="T5" fmla="*/ 0 h 36"/>
                <a:gd name="T6" fmla="*/ 84 w 84"/>
                <a:gd name="T7" fmla="*/ 18 h 36"/>
                <a:gd name="T8" fmla="*/ 42 w 84"/>
                <a:gd name="T9" fmla="*/ 36 h 36"/>
                <a:gd name="T10" fmla="*/ 42 w 84"/>
                <a:gd name="T11" fmla="*/ 8 h 36"/>
                <a:gd name="T12" fmla="*/ 8 w 84"/>
                <a:gd name="T13" fmla="*/ 18 h 36"/>
                <a:gd name="T14" fmla="*/ 42 w 84"/>
                <a:gd name="T15" fmla="*/ 28 h 36"/>
                <a:gd name="T16" fmla="*/ 76 w 84"/>
                <a:gd name="T17" fmla="*/ 18 h 36"/>
                <a:gd name="T18" fmla="*/ 42 w 84"/>
                <a:gd name="T19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6">
                  <a:moveTo>
                    <a:pt x="42" y="36"/>
                  </a:moveTo>
                  <a:cubicBezTo>
                    <a:pt x="21" y="36"/>
                    <a:pt x="0" y="30"/>
                    <a:pt x="0" y="18"/>
                  </a:cubicBezTo>
                  <a:cubicBezTo>
                    <a:pt x="0" y="6"/>
                    <a:pt x="21" y="0"/>
                    <a:pt x="42" y="0"/>
                  </a:cubicBezTo>
                  <a:cubicBezTo>
                    <a:pt x="63" y="0"/>
                    <a:pt x="84" y="6"/>
                    <a:pt x="84" y="18"/>
                  </a:cubicBezTo>
                  <a:cubicBezTo>
                    <a:pt x="84" y="30"/>
                    <a:pt x="63" y="36"/>
                    <a:pt x="42" y="36"/>
                  </a:cubicBezTo>
                  <a:close/>
                  <a:moveTo>
                    <a:pt x="42" y="8"/>
                  </a:moveTo>
                  <a:cubicBezTo>
                    <a:pt x="20" y="8"/>
                    <a:pt x="8" y="15"/>
                    <a:pt x="8" y="18"/>
                  </a:cubicBezTo>
                  <a:cubicBezTo>
                    <a:pt x="8" y="22"/>
                    <a:pt x="20" y="28"/>
                    <a:pt x="42" y="28"/>
                  </a:cubicBezTo>
                  <a:cubicBezTo>
                    <a:pt x="64" y="28"/>
                    <a:pt x="76" y="22"/>
                    <a:pt x="76" y="18"/>
                  </a:cubicBezTo>
                  <a:cubicBezTo>
                    <a:pt x="76" y="15"/>
                    <a:pt x="64" y="8"/>
                    <a:pt x="42" y="8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1" name="Freeform 299">
              <a:extLst>
                <a:ext uri="{FF2B5EF4-FFF2-40B4-BE49-F238E27FC236}">
                  <a16:creationId xmlns:a16="http://schemas.microsoft.com/office/drawing/2014/main" id="{D7F484A1-E6DC-0330-2BF3-FB88A19DA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8476" y="1314550"/>
              <a:ext cx="266700" cy="127000"/>
            </a:xfrm>
            <a:custGeom>
              <a:avLst/>
              <a:gdLst>
                <a:gd name="T0" fmla="*/ 42 w 84"/>
                <a:gd name="T1" fmla="*/ 40 h 40"/>
                <a:gd name="T2" fmla="*/ 0 w 84"/>
                <a:gd name="T3" fmla="*/ 22 h 40"/>
                <a:gd name="T4" fmla="*/ 0 w 84"/>
                <a:gd name="T5" fmla="*/ 4 h 40"/>
                <a:gd name="T6" fmla="*/ 4 w 84"/>
                <a:gd name="T7" fmla="*/ 0 h 40"/>
                <a:gd name="T8" fmla="*/ 8 w 84"/>
                <a:gd name="T9" fmla="*/ 4 h 40"/>
                <a:gd name="T10" fmla="*/ 8 w 84"/>
                <a:gd name="T11" fmla="*/ 22 h 40"/>
                <a:gd name="T12" fmla="*/ 42 w 84"/>
                <a:gd name="T13" fmla="*/ 32 h 40"/>
                <a:gd name="T14" fmla="*/ 76 w 84"/>
                <a:gd name="T15" fmla="*/ 22 h 40"/>
                <a:gd name="T16" fmla="*/ 76 w 84"/>
                <a:gd name="T17" fmla="*/ 4 h 40"/>
                <a:gd name="T18" fmla="*/ 80 w 84"/>
                <a:gd name="T19" fmla="*/ 0 h 40"/>
                <a:gd name="T20" fmla="*/ 84 w 84"/>
                <a:gd name="T21" fmla="*/ 4 h 40"/>
                <a:gd name="T22" fmla="*/ 84 w 84"/>
                <a:gd name="T23" fmla="*/ 22 h 40"/>
                <a:gd name="T24" fmla="*/ 42 w 84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40">
                  <a:moveTo>
                    <a:pt x="42" y="40"/>
                  </a:moveTo>
                  <a:cubicBezTo>
                    <a:pt x="21" y="40"/>
                    <a:pt x="0" y="3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5"/>
                    <a:pt x="20" y="32"/>
                    <a:pt x="42" y="32"/>
                  </a:cubicBezTo>
                  <a:cubicBezTo>
                    <a:pt x="64" y="32"/>
                    <a:pt x="76" y="25"/>
                    <a:pt x="76" y="22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2"/>
                    <a:pt x="78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34"/>
                    <a:pt x="63" y="40"/>
                    <a:pt x="42" y="40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2" name="Freeform 300">
              <a:extLst>
                <a:ext uri="{FF2B5EF4-FFF2-40B4-BE49-F238E27FC236}">
                  <a16:creationId xmlns:a16="http://schemas.microsoft.com/office/drawing/2014/main" id="{06BDF8BA-7C2F-6C25-73F3-E059A9740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944662"/>
              <a:ext cx="25400" cy="258763"/>
            </a:xfrm>
            <a:custGeom>
              <a:avLst/>
              <a:gdLst>
                <a:gd name="T0" fmla="*/ 4 w 8"/>
                <a:gd name="T1" fmla="*/ 81 h 81"/>
                <a:gd name="T2" fmla="*/ 0 w 8"/>
                <a:gd name="T3" fmla="*/ 77 h 81"/>
                <a:gd name="T4" fmla="*/ 0 w 8"/>
                <a:gd name="T5" fmla="*/ 4 h 81"/>
                <a:gd name="T6" fmla="*/ 4 w 8"/>
                <a:gd name="T7" fmla="*/ 0 h 81"/>
                <a:gd name="T8" fmla="*/ 8 w 8"/>
                <a:gd name="T9" fmla="*/ 4 h 81"/>
                <a:gd name="T10" fmla="*/ 8 w 8"/>
                <a:gd name="T11" fmla="*/ 77 h 81"/>
                <a:gd name="T12" fmla="*/ 4 w 8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1">
                  <a:moveTo>
                    <a:pt x="4" y="81"/>
                  </a:moveTo>
                  <a:cubicBezTo>
                    <a:pt x="1" y="81"/>
                    <a:pt x="0" y="79"/>
                    <a:pt x="0" y="7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9"/>
                    <a:pt x="6" y="81"/>
                    <a:pt x="4" y="81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3" name="Freeform 301">
              <a:extLst>
                <a:ext uri="{FF2B5EF4-FFF2-40B4-BE49-F238E27FC236}">
                  <a16:creationId xmlns:a16="http://schemas.microsoft.com/office/drawing/2014/main" id="{E65B4848-CFD7-7F5E-25F6-3C915D19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9126" y="1238350"/>
              <a:ext cx="25400" cy="88900"/>
            </a:xfrm>
            <a:custGeom>
              <a:avLst/>
              <a:gdLst>
                <a:gd name="T0" fmla="*/ 4 w 8"/>
                <a:gd name="T1" fmla="*/ 28 h 28"/>
                <a:gd name="T2" fmla="*/ 0 w 8"/>
                <a:gd name="T3" fmla="*/ 24 h 28"/>
                <a:gd name="T4" fmla="*/ 0 w 8"/>
                <a:gd name="T5" fmla="*/ 4 h 28"/>
                <a:gd name="T6" fmla="*/ 4 w 8"/>
                <a:gd name="T7" fmla="*/ 0 h 28"/>
                <a:gd name="T8" fmla="*/ 8 w 8"/>
                <a:gd name="T9" fmla="*/ 4 h 28"/>
                <a:gd name="T10" fmla="*/ 8 w 8"/>
                <a:gd name="T11" fmla="*/ 24 h 28"/>
                <a:gd name="T12" fmla="*/ 4 w 8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8">
                  <a:moveTo>
                    <a:pt x="4" y="28"/>
                  </a:moveTo>
                  <a:cubicBezTo>
                    <a:pt x="1" y="28"/>
                    <a:pt x="0" y="26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6"/>
                    <a:pt x="6" y="28"/>
                    <a:pt x="4" y="28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4" name="Freeform 302">
              <a:extLst>
                <a:ext uri="{FF2B5EF4-FFF2-40B4-BE49-F238E27FC236}">
                  <a16:creationId xmlns:a16="http://schemas.microsoft.com/office/drawing/2014/main" id="{C28FE8EF-DCA9-0ACF-C5B6-5AC7C5984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501" y="928787"/>
              <a:ext cx="120650" cy="76200"/>
            </a:xfrm>
            <a:custGeom>
              <a:avLst/>
              <a:gdLst>
                <a:gd name="T0" fmla="*/ 33 w 38"/>
                <a:gd name="T1" fmla="*/ 24 h 24"/>
                <a:gd name="T2" fmla="*/ 30 w 38"/>
                <a:gd name="T3" fmla="*/ 22 h 24"/>
                <a:gd name="T4" fmla="*/ 19 w 38"/>
                <a:gd name="T5" fmla="*/ 11 h 24"/>
                <a:gd name="T6" fmla="*/ 7 w 38"/>
                <a:gd name="T7" fmla="*/ 22 h 24"/>
                <a:gd name="T8" fmla="*/ 1 w 38"/>
                <a:gd name="T9" fmla="*/ 22 h 24"/>
                <a:gd name="T10" fmla="*/ 1 w 38"/>
                <a:gd name="T11" fmla="*/ 17 h 24"/>
                <a:gd name="T12" fmla="*/ 16 w 38"/>
                <a:gd name="T13" fmla="*/ 2 h 24"/>
                <a:gd name="T14" fmla="*/ 21 w 38"/>
                <a:gd name="T15" fmla="*/ 2 h 24"/>
                <a:gd name="T16" fmla="*/ 36 w 38"/>
                <a:gd name="T17" fmla="*/ 17 h 24"/>
                <a:gd name="T18" fmla="*/ 36 w 38"/>
                <a:gd name="T19" fmla="*/ 22 h 24"/>
                <a:gd name="T20" fmla="*/ 33 w 38"/>
                <a:gd name="T2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4">
                  <a:moveTo>
                    <a:pt x="33" y="24"/>
                  </a:moveTo>
                  <a:cubicBezTo>
                    <a:pt x="32" y="24"/>
                    <a:pt x="31" y="23"/>
                    <a:pt x="30" y="22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5" y="24"/>
                    <a:pt x="3" y="24"/>
                    <a:pt x="1" y="22"/>
                  </a:cubicBezTo>
                  <a:cubicBezTo>
                    <a:pt x="0" y="21"/>
                    <a:pt x="0" y="18"/>
                    <a:pt x="1" y="17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0" y="0"/>
                    <a:pt x="21" y="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8" y="18"/>
                    <a:pt x="38" y="21"/>
                    <a:pt x="36" y="22"/>
                  </a:cubicBezTo>
                  <a:cubicBezTo>
                    <a:pt x="35" y="23"/>
                    <a:pt x="34" y="24"/>
                    <a:pt x="33" y="24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5" name="Freeform 303">
              <a:extLst>
                <a:ext uri="{FF2B5EF4-FFF2-40B4-BE49-F238E27FC236}">
                  <a16:creationId xmlns:a16="http://schemas.microsoft.com/office/drawing/2014/main" id="{CD8A684B-1ACD-4617-B962-BE95041E1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2151" y="1073250"/>
              <a:ext cx="95250" cy="60325"/>
            </a:xfrm>
            <a:custGeom>
              <a:avLst/>
              <a:gdLst>
                <a:gd name="T0" fmla="*/ 26 w 30"/>
                <a:gd name="T1" fmla="*/ 19 h 19"/>
                <a:gd name="T2" fmla="*/ 23 w 30"/>
                <a:gd name="T3" fmla="*/ 18 h 19"/>
                <a:gd name="T4" fmla="*/ 15 w 30"/>
                <a:gd name="T5" fmla="*/ 10 h 19"/>
                <a:gd name="T6" fmla="*/ 8 w 30"/>
                <a:gd name="T7" fmla="*/ 18 h 19"/>
                <a:gd name="T8" fmla="*/ 2 w 30"/>
                <a:gd name="T9" fmla="*/ 18 h 19"/>
                <a:gd name="T10" fmla="*/ 2 w 30"/>
                <a:gd name="T11" fmla="*/ 12 h 19"/>
                <a:gd name="T12" fmla="*/ 13 w 30"/>
                <a:gd name="T13" fmla="*/ 2 h 19"/>
                <a:gd name="T14" fmla="*/ 18 w 30"/>
                <a:gd name="T15" fmla="*/ 2 h 19"/>
                <a:gd name="T16" fmla="*/ 29 w 30"/>
                <a:gd name="T17" fmla="*/ 12 h 19"/>
                <a:gd name="T18" fmla="*/ 29 w 30"/>
                <a:gd name="T19" fmla="*/ 18 h 19"/>
                <a:gd name="T20" fmla="*/ 26 w 30"/>
                <a:gd name="T2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9">
                  <a:moveTo>
                    <a:pt x="26" y="19"/>
                  </a:moveTo>
                  <a:cubicBezTo>
                    <a:pt x="25" y="19"/>
                    <a:pt x="24" y="19"/>
                    <a:pt x="23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6" y="19"/>
                    <a:pt x="3" y="19"/>
                    <a:pt x="2" y="18"/>
                  </a:cubicBezTo>
                  <a:cubicBezTo>
                    <a:pt x="0" y="16"/>
                    <a:pt x="0" y="14"/>
                    <a:pt x="2" y="1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0"/>
                    <a:pt x="17" y="0"/>
                    <a:pt x="18" y="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4"/>
                    <a:pt x="30" y="16"/>
                    <a:pt x="29" y="18"/>
                  </a:cubicBezTo>
                  <a:cubicBezTo>
                    <a:pt x="28" y="19"/>
                    <a:pt x="27" y="19"/>
                    <a:pt x="26" y="19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6" name="Freeform 304">
              <a:extLst>
                <a:ext uri="{FF2B5EF4-FFF2-40B4-BE49-F238E27FC236}">
                  <a16:creationId xmlns:a16="http://schemas.microsoft.com/office/drawing/2014/main" id="{150BD0FF-AD1C-EE8B-287D-E59FAEE14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7076" y="1085950"/>
              <a:ext cx="101600" cy="228600"/>
            </a:xfrm>
            <a:custGeom>
              <a:avLst/>
              <a:gdLst>
                <a:gd name="T0" fmla="*/ 28 w 32"/>
                <a:gd name="T1" fmla="*/ 72 h 72"/>
                <a:gd name="T2" fmla="*/ 24 w 32"/>
                <a:gd name="T3" fmla="*/ 68 h 72"/>
                <a:gd name="T4" fmla="*/ 24 w 32"/>
                <a:gd name="T5" fmla="*/ 51 h 72"/>
                <a:gd name="T6" fmla="*/ 3 w 32"/>
                <a:gd name="T7" fmla="*/ 44 h 72"/>
                <a:gd name="T8" fmla="*/ 0 w 32"/>
                <a:gd name="T9" fmla="*/ 40 h 72"/>
                <a:gd name="T10" fmla="*/ 0 w 32"/>
                <a:gd name="T11" fmla="*/ 4 h 72"/>
                <a:gd name="T12" fmla="*/ 4 w 32"/>
                <a:gd name="T13" fmla="*/ 0 h 72"/>
                <a:gd name="T14" fmla="*/ 8 w 32"/>
                <a:gd name="T15" fmla="*/ 4 h 72"/>
                <a:gd name="T16" fmla="*/ 8 w 32"/>
                <a:gd name="T17" fmla="*/ 37 h 72"/>
                <a:gd name="T18" fmla="*/ 29 w 32"/>
                <a:gd name="T19" fmla="*/ 44 h 72"/>
                <a:gd name="T20" fmla="*/ 32 w 32"/>
                <a:gd name="T21" fmla="*/ 48 h 72"/>
                <a:gd name="T22" fmla="*/ 32 w 32"/>
                <a:gd name="T23" fmla="*/ 68 h 72"/>
                <a:gd name="T24" fmla="*/ 28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28" y="72"/>
                  </a:moveTo>
                  <a:cubicBezTo>
                    <a:pt x="26" y="72"/>
                    <a:pt x="24" y="70"/>
                    <a:pt x="24" y="68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1" y="43"/>
                    <a:pt x="0" y="42"/>
                    <a:pt x="0" y="4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5"/>
                    <a:pt x="32" y="46"/>
                    <a:pt x="32" y="4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70"/>
                    <a:pt x="30" y="72"/>
                    <a:pt x="28" y="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7" name="Freeform 305">
              <a:extLst>
                <a:ext uri="{FF2B5EF4-FFF2-40B4-BE49-F238E27FC236}">
                  <a16:creationId xmlns:a16="http://schemas.microsoft.com/office/drawing/2014/main" id="{3AC69267-759C-1CF3-B22C-3B980E709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6251" y="1073250"/>
              <a:ext cx="95250" cy="60325"/>
            </a:xfrm>
            <a:custGeom>
              <a:avLst/>
              <a:gdLst>
                <a:gd name="T0" fmla="*/ 25 w 30"/>
                <a:gd name="T1" fmla="*/ 19 h 19"/>
                <a:gd name="T2" fmla="*/ 22 w 30"/>
                <a:gd name="T3" fmla="*/ 18 h 19"/>
                <a:gd name="T4" fmla="*/ 15 w 30"/>
                <a:gd name="T5" fmla="*/ 10 h 19"/>
                <a:gd name="T6" fmla="*/ 7 w 30"/>
                <a:gd name="T7" fmla="*/ 18 h 19"/>
                <a:gd name="T8" fmla="*/ 1 w 30"/>
                <a:gd name="T9" fmla="*/ 18 h 19"/>
                <a:gd name="T10" fmla="*/ 1 w 30"/>
                <a:gd name="T11" fmla="*/ 12 h 19"/>
                <a:gd name="T12" fmla="*/ 12 w 30"/>
                <a:gd name="T13" fmla="*/ 2 h 19"/>
                <a:gd name="T14" fmla="*/ 15 w 30"/>
                <a:gd name="T15" fmla="*/ 0 h 19"/>
                <a:gd name="T16" fmla="*/ 15 w 30"/>
                <a:gd name="T17" fmla="*/ 0 h 19"/>
                <a:gd name="T18" fmla="*/ 17 w 30"/>
                <a:gd name="T19" fmla="*/ 2 h 19"/>
                <a:gd name="T20" fmla="*/ 28 w 30"/>
                <a:gd name="T21" fmla="*/ 12 h 19"/>
                <a:gd name="T22" fmla="*/ 28 w 30"/>
                <a:gd name="T23" fmla="*/ 18 h 19"/>
                <a:gd name="T24" fmla="*/ 25 w 30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19">
                  <a:moveTo>
                    <a:pt x="25" y="19"/>
                  </a:moveTo>
                  <a:cubicBezTo>
                    <a:pt x="24" y="19"/>
                    <a:pt x="23" y="19"/>
                    <a:pt x="22" y="1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5" y="19"/>
                    <a:pt x="3" y="19"/>
                    <a:pt x="1" y="18"/>
                  </a:cubicBezTo>
                  <a:cubicBezTo>
                    <a:pt x="0" y="16"/>
                    <a:pt x="0" y="14"/>
                    <a:pt x="1" y="1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3" y="1"/>
                    <a:pt x="14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1"/>
                    <a:pt x="17" y="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0" y="14"/>
                    <a:pt x="30" y="16"/>
                    <a:pt x="28" y="18"/>
                  </a:cubicBezTo>
                  <a:cubicBezTo>
                    <a:pt x="27" y="19"/>
                    <a:pt x="26" y="19"/>
                    <a:pt x="25" y="19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  <p:sp>
          <p:nvSpPr>
            <p:cNvPr id="158" name="Freeform 306">
              <a:extLst>
                <a:ext uri="{FF2B5EF4-FFF2-40B4-BE49-F238E27FC236}">
                  <a16:creationId xmlns:a16="http://schemas.microsoft.com/office/drawing/2014/main" id="{8955BC4F-56D7-847C-68E5-92B17B59D6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976" y="1085950"/>
              <a:ext cx="101600" cy="228600"/>
            </a:xfrm>
            <a:custGeom>
              <a:avLst/>
              <a:gdLst>
                <a:gd name="T0" fmla="*/ 4 w 32"/>
                <a:gd name="T1" fmla="*/ 72 h 72"/>
                <a:gd name="T2" fmla="*/ 0 w 32"/>
                <a:gd name="T3" fmla="*/ 68 h 72"/>
                <a:gd name="T4" fmla="*/ 0 w 32"/>
                <a:gd name="T5" fmla="*/ 48 h 72"/>
                <a:gd name="T6" fmla="*/ 3 w 32"/>
                <a:gd name="T7" fmla="*/ 44 h 72"/>
                <a:gd name="T8" fmla="*/ 24 w 32"/>
                <a:gd name="T9" fmla="*/ 37 h 72"/>
                <a:gd name="T10" fmla="*/ 24 w 32"/>
                <a:gd name="T11" fmla="*/ 4 h 72"/>
                <a:gd name="T12" fmla="*/ 28 w 32"/>
                <a:gd name="T13" fmla="*/ 0 h 72"/>
                <a:gd name="T14" fmla="*/ 32 w 32"/>
                <a:gd name="T15" fmla="*/ 4 h 72"/>
                <a:gd name="T16" fmla="*/ 32 w 32"/>
                <a:gd name="T17" fmla="*/ 40 h 72"/>
                <a:gd name="T18" fmla="*/ 29 w 32"/>
                <a:gd name="T19" fmla="*/ 44 h 72"/>
                <a:gd name="T20" fmla="*/ 8 w 32"/>
                <a:gd name="T21" fmla="*/ 51 h 72"/>
                <a:gd name="T22" fmla="*/ 8 w 32"/>
                <a:gd name="T23" fmla="*/ 68 h 72"/>
                <a:gd name="T24" fmla="*/ 4 w 32"/>
                <a:gd name="T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72">
                  <a:moveTo>
                    <a:pt x="4" y="72"/>
                  </a:moveTo>
                  <a:cubicBezTo>
                    <a:pt x="2" y="72"/>
                    <a:pt x="0" y="70"/>
                    <a:pt x="0" y="6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6"/>
                    <a:pt x="1" y="45"/>
                    <a:pt x="3" y="44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2"/>
                    <a:pt x="26" y="0"/>
                    <a:pt x="28" y="0"/>
                  </a:cubicBezTo>
                  <a:cubicBezTo>
                    <a:pt x="30" y="0"/>
                    <a:pt x="32" y="2"/>
                    <a:pt x="32" y="4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2"/>
                    <a:pt x="31" y="43"/>
                    <a:pt x="29" y="44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6" y="72"/>
                    <a:pt x="4" y="72"/>
                  </a:cubicBez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accent5">
                  <a:lumMod val="50000"/>
                </a:schemeClr>
              </a:solidFill>
              <a:prstDash val="solid"/>
              <a:miter/>
            </a:ln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endParaRPr lang="en-GB" sz="1467" dirty="0">
                <a:solidFill>
                  <a:srgbClr val="406D69"/>
                </a:solidFill>
                <a:latin typeface="+mj-lt"/>
              </a:endParaRPr>
            </a:p>
          </p:txBody>
        </p: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7A0F61C2-5FEA-9E5A-D330-3F2CB731F3FF}"/>
              </a:ext>
            </a:extLst>
          </p:cNvPr>
          <p:cNvSpPr txBox="1"/>
          <p:nvPr/>
        </p:nvSpPr>
        <p:spPr>
          <a:xfrm>
            <a:off x="7296651" y="5258070"/>
            <a:ext cx="105463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1</a:t>
            </a:r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2</a:t>
            </a:r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,</a:t>
            </a:r>
            <a:r>
              <a:rPr lang="ru-RU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5</a:t>
            </a:r>
            <a:r>
              <a:rPr lang="en-US" sz="2400" b="1" dirty="0">
                <a:latin typeface="Arial Narrow" panose="020B0606020202030204" pitchFamily="34" charset="0"/>
                <a:ea typeface="Verdana" panose="020B0604030504040204" pitchFamily="34" charset="0"/>
              </a:rPr>
              <a:t>  </a:t>
            </a:r>
            <a:endParaRPr lang="ru-RU" sz="2400" b="1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FB0C59A-6581-BC6C-9504-369BBED92920}"/>
              </a:ext>
            </a:extLst>
          </p:cNvPr>
          <p:cNvSpPr txBox="1"/>
          <p:nvPr/>
        </p:nvSpPr>
        <p:spPr>
          <a:xfrm>
            <a:off x="8341221" y="5229997"/>
            <a:ext cx="3710196" cy="5025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млрд тенге выплачен корпоративный подоходный налог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C6EDE219-363D-6459-D669-7FD7D0966F8A}"/>
              </a:ext>
            </a:extLst>
          </p:cNvPr>
          <p:cNvSpPr txBox="1"/>
          <p:nvPr/>
        </p:nvSpPr>
        <p:spPr>
          <a:xfrm>
            <a:off x="994103" y="4206455"/>
            <a:ext cx="903837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667" b="1" dirty="0">
                <a:latin typeface="Arial Narrow" panose="020B0606020202030204" pitchFamily="34" charset="0"/>
                <a:ea typeface="Verdana" panose="020B0604030504040204" pitchFamily="34" charset="0"/>
              </a:rPr>
              <a:t>1 331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2F9AD45-51E7-CA23-6EA6-AE23AF773131}"/>
              </a:ext>
            </a:extLst>
          </p:cNvPr>
          <p:cNvSpPr txBox="1"/>
          <p:nvPr/>
        </p:nvSpPr>
        <p:spPr>
          <a:xfrm>
            <a:off x="1885141" y="4251677"/>
            <a:ext cx="4530335" cy="4667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333">
                <a:latin typeface="Arial Narrow" panose="020B060602020203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/>
              <a:t>млрд тенге заимствований привлечено Группой БРК, из которых  57,9% рыночное заимствование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23AECA59-4B80-3D4B-32C9-091B293845FF}"/>
              </a:ext>
            </a:extLst>
          </p:cNvPr>
          <p:cNvSpPr txBox="1"/>
          <p:nvPr/>
        </p:nvSpPr>
        <p:spPr>
          <a:xfrm>
            <a:off x="6815261" y="2240875"/>
            <a:ext cx="1882332" cy="4924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ru-RU"/>
            </a:defPPr>
            <a:lvl1pPr algn="ctr">
              <a:defRPr sz="1400" b="1" i="0" u="none" strike="noStrike">
                <a:solidFill>
                  <a:schemeClr val="accent4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entury Gothic"/>
                <a:ea typeface="Verdana"/>
              </a:defRPr>
            </a:lvl1pPr>
          </a:lstStyle>
          <a:p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</a:rPr>
              <a:t>3</a:t>
            </a:r>
            <a:r>
              <a:rPr lang="en-US" sz="24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Arial Narrow" panose="020B0606020202030204" pitchFamily="34" charset="0"/>
              </a:rPr>
              <a:t>328</a:t>
            </a:r>
            <a:endParaRPr lang="en" sz="2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820A48F4-49F8-D302-5E96-F3472287AAC7}"/>
              </a:ext>
            </a:extLst>
          </p:cNvPr>
          <p:cNvSpPr txBox="1"/>
          <p:nvPr/>
        </p:nvSpPr>
        <p:spPr>
          <a:xfrm>
            <a:off x="8351959" y="2244731"/>
            <a:ext cx="2803755" cy="50677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-RU" dirty="0">
                <a:highlight>
                  <a:srgbClr val="000000">
                    <a:alpha val="0"/>
                  </a:srgbClr>
                </a:highlight>
                <a:latin typeface="Arial Narrow" panose="020B0606020202030204" pitchFamily="34" charset="0"/>
                <a:ea typeface="Verdana"/>
              </a:rPr>
              <a:t>Обязательства, </a:t>
            </a:r>
            <a:r>
              <a:rPr lang="ru-RU" sz="1500" b="0" dirty="0">
                <a:solidFill>
                  <a:schemeClr val="tx1"/>
                </a:solidFill>
                <a:latin typeface="Arial Narrow" panose="020B0606020202030204" pitchFamily="34" charset="0"/>
              </a:rPr>
              <a:t>млрд тенге</a:t>
            </a:r>
            <a:endParaRPr lang="en" sz="1500" dirty="0">
              <a:highlight>
                <a:srgbClr val="000000">
                  <a:alpha val="0"/>
                </a:srgbClr>
              </a:highlight>
              <a:latin typeface="Arial Narrow" panose="020B0606020202030204" pitchFamily="34" charset="0"/>
              <a:ea typeface="Verdana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81E2849A-82FE-F106-7DE9-3E35605F5D7A}"/>
              </a:ext>
            </a:extLst>
          </p:cNvPr>
          <p:cNvSpPr txBox="1"/>
          <p:nvPr/>
        </p:nvSpPr>
        <p:spPr>
          <a:xfrm>
            <a:off x="472598" y="6060459"/>
            <a:ext cx="915179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00" b="1" i="1" dirty="0">
                <a:latin typeface="Arial Narrow" panose="020B0606020202030204" pitchFamily="34" charset="0"/>
                <a:ea typeface="Verdana" panose="020B0604030504040204" pitchFamily="34" charset="0"/>
              </a:rPr>
              <a:t>* </a:t>
            </a:r>
            <a:r>
              <a:rPr lang="ru-RU" sz="1200" i="1" dirty="0">
                <a:latin typeface="Arial Narrow" panose="020B0606020202030204" pitchFamily="34" charset="0"/>
                <a:ea typeface="Verdana" panose="020B0604030504040204" pitchFamily="34" charset="0"/>
              </a:rPr>
              <a:t>С момента создания БРК: 33 193 - создано рабочих мест, 135 - профинансировано инвестиционных проектов.</a:t>
            </a:r>
            <a:endParaRPr lang="en" sz="1200" i="1" dirty="0">
              <a:latin typeface="Arial Narrow" panose="020B0606020202030204" pitchFamily="34" charset="0"/>
              <a:ea typeface="Verdana" panose="020B0604030504040204" pitchFamily="34" charset="0"/>
            </a:endParaRPr>
          </a:p>
        </p:txBody>
      </p:sp>
      <p:grpSp>
        <p:nvGrpSpPr>
          <p:cNvPr id="31" name="Group 13">
            <a:extLst>
              <a:ext uri="{FF2B5EF4-FFF2-40B4-BE49-F238E27FC236}">
                <a16:creationId xmlns:a16="http://schemas.microsoft.com/office/drawing/2014/main" id="{117DD4C0-D833-4B7D-112D-9E21ACFFB8F6}"/>
              </a:ext>
            </a:extLst>
          </p:cNvPr>
          <p:cNvGrpSpPr/>
          <p:nvPr/>
        </p:nvGrpSpPr>
        <p:grpSpPr>
          <a:xfrm>
            <a:off x="296326" y="1542124"/>
            <a:ext cx="612000" cy="612000"/>
            <a:chOff x="4091659" y="2258092"/>
            <a:chExt cx="612000" cy="612000"/>
          </a:xfrm>
          <a:noFill/>
        </p:grpSpPr>
        <p:sp>
          <p:nvSpPr>
            <p:cNvPr id="32" name="Oval 118">
              <a:extLst>
                <a:ext uri="{FF2B5EF4-FFF2-40B4-BE49-F238E27FC236}">
                  <a16:creationId xmlns:a16="http://schemas.microsoft.com/office/drawing/2014/main" id="{E9E840CB-9978-57AB-71F4-4AF212F9C9CD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grpFill/>
            <a:ln w="3175" cap="flat" cmpd="sng" algn="ctr">
              <a:solidFill>
                <a:srgbClr val="406D6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33" name="Freeform 4807">
              <a:extLst>
                <a:ext uri="{FF2B5EF4-FFF2-40B4-BE49-F238E27FC236}">
                  <a16:creationId xmlns:a16="http://schemas.microsoft.com/office/drawing/2014/main" id="{B0E5C595-1766-4F22-B978-51E4103210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1541" y="2357405"/>
              <a:ext cx="392236" cy="350561"/>
            </a:xfrm>
            <a:custGeom>
              <a:avLst/>
              <a:gdLst>
                <a:gd name="T0" fmla="*/ 84 w 320"/>
                <a:gd name="T1" fmla="*/ 24 h 286"/>
                <a:gd name="T2" fmla="*/ 86 w 320"/>
                <a:gd name="T3" fmla="*/ 18 h 286"/>
                <a:gd name="T4" fmla="*/ 92 w 320"/>
                <a:gd name="T5" fmla="*/ 14 h 286"/>
                <a:gd name="T6" fmla="*/ 134 w 320"/>
                <a:gd name="T7" fmla="*/ 2 h 286"/>
                <a:gd name="T8" fmla="*/ 160 w 320"/>
                <a:gd name="T9" fmla="*/ 0 h 286"/>
                <a:gd name="T10" fmla="*/ 208 w 320"/>
                <a:gd name="T11" fmla="*/ 8 h 286"/>
                <a:gd name="T12" fmla="*/ 228 w 320"/>
                <a:gd name="T13" fmla="*/ 14 h 286"/>
                <a:gd name="T14" fmla="*/ 236 w 320"/>
                <a:gd name="T15" fmla="*/ 24 h 286"/>
                <a:gd name="T16" fmla="*/ 216 w 320"/>
                <a:gd name="T17" fmla="*/ 42 h 286"/>
                <a:gd name="T18" fmla="*/ 216 w 320"/>
                <a:gd name="T19" fmla="*/ 30 h 286"/>
                <a:gd name="T20" fmla="*/ 178 w 320"/>
                <a:gd name="T21" fmla="*/ 22 h 286"/>
                <a:gd name="T22" fmla="*/ 160 w 320"/>
                <a:gd name="T23" fmla="*/ 20 h 286"/>
                <a:gd name="T24" fmla="*/ 128 w 320"/>
                <a:gd name="T25" fmla="*/ 24 h 286"/>
                <a:gd name="T26" fmla="*/ 104 w 320"/>
                <a:gd name="T27" fmla="*/ 42 h 286"/>
                <a:gd name="T28" fmla="*/ 132 w 320"/>
                <a:gd name="T29" fmla="*/ 160 h 286"/>
                <a:gd name="T30" fmla="*/ 188 w 320"/>
                <a:gd name="T31" fmla="*/ 146 h 286"/>
                <a:gd name="T32" fmla="*/ 188 w 320"/>
                <a:gd name="T33" fmla="*/ 160 h 286"/>
                <a:gd name="T34" fmla="*/ 274 w 320"/>
                <a:gd name="T35" fmla="*/ 148 h 286"/>
                <a:gd name="T36" fmla="*/ 320 w 320"/>
                <a:gd name="T37" fmla="*/ 138 h 286"/>
                <a:gd name="T38" fmla="*/ 320 w 320"/>
                <a:gd name="T39" fmla="*/ 72 h 286"/>
                <a:gd name="T40" fmla="*/ 314 w 320"/>
                <a:gd name="T41" fmla="*/ 58 h 286"/>
                <a:gd name="T42" fmla="*/ 300 w 320"/>
                <a:gd name="T43" fmla="*/ 52 h 286"/>
                <a:gd name="T44" fmla="*/ 20 w 320"/>
                <a:gd name="T45" fmla="*/ 52 h 286"/>
                <a:gd name="T46" fmla="*/ 6 w 320"/>
                <a:gd name="T47" fmla="*/ 58 h 286"/>
                <a:gd name="T48" fmla="*/ 0 w 320"/>
                <a:gd name="T49" fmla="*/ 72 h 286"/>
                <a:gd name="T50" fmla="*/ 0 w 320"/>
                <a:gd name="T51" fmla="*/ 138 h 286"/>
                <a:gd name="T52" fmla="*/ 46 w 320"/>
                <a:gd name="T53" fmla="*/ 148 h 286"/>
                <a:gd name="T54" fmla="*/ 132 w 320"/>
                <a:gd name="T55" fmla="*/ 160 h 286"/>
                <a:gd name="T56" fmla="*/ 174 w 320"/>
                <a:gd name="T57" fmla="*/ 176 h 286"/>
                <a:gd name="T58" fmla="*/ 146 w 320"/>
                <a:gd name="T59" fmla="*/ 160 h 286"/>
                <a:gd name="T60" fmla="*/ 174 w 320"/>
                <a:gd name="T61" fmla="*/ 176 h 286"/>
                <a:gd name="T62" fmla="*/ 320 w 320"/>
                <a:gd name="T63" fmla="*/ 266 h 286"/>
                <a:gd name="T64" fmla="*/ 318 w 320"/>
                <a:gd name="T65" fmla="*/ 274 h 286"/>
                <a:gd name="T66" fmla="*/ 308 w 320"/>
                <a:gd name="T67" fmla="*/ 284 h 286"/>
                <a:gd name="T68" fmla="*/ 20 w 320"/>
                <a:gd name="T69" fmla="*/ 286 h 286"/>
                <a:gd name="T70" fmla="*/ 12 w 320"/>
                <a:gd name="T71" fmla="*/ 284 h 286"/>
                <a:gd name="T72" fmla="*/ 2 w 320"/>
                <a:gd name="T73" fmla="*/ 274 h 286"/>
                <a:gd name="T74" fmla="*/ 0 w 320"/>
                <a:gd name="T75" fmla="*/ 154 h 286"/>
                <a:gd name="T76" fmla="*/ 20 w 320"/>
                <a:gd name="T77" fmla="*/ 160 h 286"/>
                <a:gd name="T78" fmla="*/ 88 w 320"/>
                <a:gd name="T79" fmla="*/ 172 h 286"/>
                <a:gd name="T80" fmla="*/ 132 w 320"/>
                <a:gd name="T81" fmla="*/ 190 h 286"/>
                <a:gd name="T82" fmla="*/ 188 w 320"/>
                <a:gd name="T83" fmla="*/ 176 h 286"/>
                <a:gd name="T84" fmla="*/ 232 w 320"/>
                <a:gd name="T85" fmla="*/ 172 h 286"/>
                <a:gd name="T86" fmla="*/ 300 w 320"/>
                <a:gd name="T87" fmla="*/ 160 h 286"/>
                <a:gd name="T88" fmla="*/ 320 w 320"/>
                <a:gd name="T89" fmla="*/ 154 h 286"/>
                <a:gd name="T90" fmla="*/ 56 w 320"/>
                <a:gd name="T91" fmla="*/ 266 h 286"/>
                <a:gd name="T92" fmla="*/ 52 w 320"/>
                <a:gd name="T93" fmla="*/ 252 h 286"/>
                <a:gd name="T94" fmla="*/ 46 w 320"/>
                <a:gd name="T95" fmla="*/ 240 h 286"/>
                <a:gd name="T96" fmla="*/ 34 w 320"/>
                <a:gd name="T97" fmla="*/ 232 h 286"/>
                <a:gd name="T98" fmla="*/ 20 w 320"/>
                <a:gd name="T99" fmla="*/ 230 h 286"/>
                <a:gd name="T100" fmla="*/ 56 w 320"/>
                <a:gd name="T101" fmla="*/ 266 h 286"/>
                <a:gd name="T102" fmla="*/ 300 w 320"/>
                <a:gd name="T103" fmla="*/ 230 h 286"/>
                <a:gd name="T104" fmla="*/ 286 w 320"/>
                <a:gd name="T105" fmla="*/ 232 h 286"/>
                <a:gd name="T106" fmla="*/ 274 w 320"/>
                <a:gd name="T107" fmla="*/ 240 h 286"/>
                <a:gd name="T108" fmla="*/ 268 w 320"/>
                <a:gd name="T109" fmla="*/ 252 h 286"/>
                <a:gd name="T110" fmla="*/ 264 w 320"/>
                <a:gd name="T111" fmla="*/ 266 h 286"/>
                <a:gd name="T112" fmla="*/ 300 w 320"/>
                <a:gd name="T113" fmla="*/ 23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86">
                  <a:moveTo>
                    <a:pt x="84" y="42"/>
                  </a:moveTo>
                  <a:lnTo>
                    <a:pt x="84" y="24"/>
                  </a:lnTo>
                  <a:lnTo>
                    <a:pt x="84" y="24"/>
                  </a:lnTo>
                  <a:lnTo>
                    <a:pt x="86" y="18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112" y="8"/>
                  </a:lnTo>
                  <a:lnTo>
                    <a:pt x="13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86" y="2"/>
                  </a:lnTo>
                  <a:lnTo>
                    <a:pt x="208" y="8"/>
                  </a:lnTo>
                  <a:lnTo>
                    <a:pt x="228" y="14"/>
                  </a:lnTo>
                  <a:lnTo>
                    <a:pt x="228" y="14"/>
                  </a:lnTo>
                  <a:lnTo>
                    <a:pt x="234" y="18"/>
                  </a:lnTo>
                  <a:lnTo>
                    <a:pt x="236" y="24"/>
                  </a:lnTo>
                  <a:lnTo>
                    <a:pt x="236" y="42"/>
                  </a:lnTo>
                  <a:lnTo>
                    <a:pt x="216" y="42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192" y="24"/>
                  </a:lnTo>
                  <a:lnTo>
                    <a:pt x="17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42" y="22"/>
                  </a:lnTo>
                  <a:lnTo>
                    <a:pt x="128" y="24"/>
                  </a:lnTo>
                  <a:lnTo>
                    <a:pt x="104" y="30"/>
                  </a:lnTo>
                  <a:lnTo>
                    <a:pt x="104" y="42"/>
                  </a:lnTo>
                  <a:lnTo>
                    <a:pt x="84" y="42"/>
                  </a:lnTo>
                  <a:close/>
                  <a:moveTo>
                    <a:pt x="132" y="160"/>
                  </a:moveTo>
                  <a:lnTo>
                    <a:pt x="132" y="146"/>
                  </a:lnTo>
                  <a:lnTo>
                    <a:pt x="188" y="146"/>
                  </a:lnTo>
                  <a:lnTo>
                    <a:pt x="188" y="160"/>
                  </a:lnTo>
                  <a:lnTo>
                    <a:pt x="188" y="160"/>
                  </a:lnTo>
                  <a:lnTo>
                    <a:pt x="234" y="156"/>
                  </a:lnTo>
                  <a:lnTo>
                    <a:pt x="274" y="148"/>
                  </a:lnTo>
                  <a:lnTo>
                    <a:pt x="302" y="142"/>
                  </a:lnTo>
                  <a:lnTo>
                    <a:pt x="320" y="138"/>
                  </a:lnTo>
                  <a:lnTo>
                    <a:pt x="320" y="72"/>
                  </a:lnTo>
                  <a:lnTo>
                    <a:pt x="320" y="72"/>
                  </a:lnTo>
                  <a:lnTo>
                    <a:pt x="318" y="64"/>
                  </a:lnTo>
                  <a:lnTo>
                    <a:pt x="314" y="58"/>
                  </a:lnTo>
                  <a:lnTo>
                    <a:pt x="308" y="54"/>
                  </a:lnTo>
                  <a:lnTo>
                    <a:pt x="30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54"/>
                  </a:lnTo>
                  <a:lnTo>
                    <a:pt x="6" y="58"/>
                  </a:lnTo>
                  <a:lnTo>
                    <a:pt x="2" y="64"/>
                  </a:lnTo>
                  <a:lnTo>
                    <a:pt x="0" y="72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18" y="142"/>
                  </a:lnTo>
                  <a:lnTo>
                    <a:pt x="46" y="148"/>
                  </a:lnTo>
                  <a:lnTo>
                    <a:pt x="86" y="156"/>
                  </a:lnTo>
                  <a:lnTo>
                    <a:pt x="132" y="160"/>
                  </a:lnTo>
                  <a:lnTo>
                    <a:pt x="132" y="160"/>
                  </a:lnTo>
                  <a:close/>
                  <a:moveTo>
                    <a:pt x="174" y="176"/>
                  </a:moveTo>
                  <a:lnTo>
                    <a:pt x="174" y="160"/>
                  </a:lnTo>
                  <a:lnTo>
                    <a:pt x="146" y="160"/>
                  </a:lnTo>
                  <a:lnTo>
                    <a:pt x="146" y="176"/>
                  </a:lnTo>
                  <a:lnTo>
                    <a:pt x="174" y="176"/>
                  </a:lnTo>
                  <a:close/>
                  <a:moveTo>
                    <a:pt x="320" y="154"/>
                  </a:moveTo>
                  <a:lnTo>
                    <a:pt x="320" y="266"/>
                  </a:lnTo>
                  <a:lnTo>
                    <a:pt x="320" y="266"/>
                  </a:lnTo>
                  <a:lnTo>
                    <a:pt x="318" y="274"/>
                  </a:lnTo>
                  <a:lnTo>
                    <a:pt x="314" y="280"/>
                  </a:lnTo>
                  <a:lnTo>
                    <a:pt x="308" y="284"/>
                  </a:lnTo>
                  <a:lnTo>
                    <a:pt x="30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2" y="284"/>
                  </a:lnTo>
                  <a:lnTo>
                    <a:pt x="6" y="280"/>
                  </a:lnTo>
                  <a:lnTo>
                    <a:pt x="2" y="274"/>
                  </a:lnTo>
                  <a:lnTo>
                    <a:pt x="0" y="266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20" y="160"/>
                  </a:lnTo>
                  <a:lnTo>
                    <a:pt x="50" y="166"/>
                  </a:lnTo>
                  <a:lnTo>
                    <a:pt x="88" y="172"/>
                  </a:lnTo>
                  <a:lnTo>
                    <a:pt x="132" y="176"/>
                  </a:lnTo>
                  <a:lnTo>
                    <a:pt x="132" y="190"/>
                  </a:lnTo>
                  <a:lnTo>
                    <a:pt x="188" y="190"/>
                  </a:lnTo>
                  <a:lnTo>
                    <a:pt x="188" y="176"/>
                  </a:lnTo>
                  <a:lnTo>
                    <a:pt x="188" y="176"/>
                  </a:lnTo>
                  <a:lnTo>
                    <a:pt x="232" y="172"/>
                  </a:lnTo>
                  <a:lnTo>
                    <a:pt x="270" y="166"/>
                  </a:lnTo>
                  <a:lnTo>
                    <a:pt x="300" y="160"/>
                  </a:lnTo>
                  <a:lnTo>
                    <a:pt x="320" y="154"/>
                  </a:lnTo>
                  <a:lnTo>
                    <a:pt x="320" y="154"/>
                  </a:lnTo>
                  <a:close/>
                  <a:moveTo>
                    <a:pt x="56" y="266"/>
                  </a:moveTo>
                  <a:lnTo>
                    <a:pt x="56" y="266"/>
                  </a:lnTo>
                  <a:lnTo>
                    <a:pt x="56" y="258"/>
                  </a:lnTo>
                  <a:lnTo>
                    <a:pt x="52" y="252"/>
                  </a:lnTo>
                  <a:lnTo>
                    <a:pt x="50" y="246"/>
                  </a:lnTo>
                  <a:lnTo>
                    <a:pt x="46" y="240"/>
                  </a:lnTo>
                  <a:lnTo>
                    <a:pt x="40" y="236"/>
                  </a:lnTo>
                  <a:lnTo>
                    <a:pt x="34" y="232"/>
                  </a:lnTo>
                  <a:lnTo>
                    <a:pt x="28" y="230"/>
                  </a:lnTo>
                  <a:lnTo>
                    <a:pt x="20" y="230"/>
                  </a:lnTo>
                  <a:lnTo>
                    <a:pt x="20" y="266"/>
                  </a:lnTo>
                  <a:lnTo>
                    <a:pt x="56" y="266"/>
                  </a:lnTo>
                  <a:close/>
                  <a:moveTo>
                    <a:pt x="300" y="230"/>
                  </a:moveTo>
                  <a:lnTo>
                    <a:pt x="300" y="230"/>
                  </a:lnTo>
                  <a:lnTo>
                    <a:pt x="292" y="230"/>
                  </a:lnTo>
                  <a:lnTo>
                    <a:pt x="286" y="232"/>
                  </a:lnTo>
                  <a:lnTo>
                    <a:pt x="280" y="236"/>
                  </a:lnTo>
                  <a:lnTo>
                    <a:pt x="274" y="240"/>
                  </a:lnTo>
                  <a:lnTo>
                    <a:pt x="270" y="246"/>
                  </a:lnTo>
                  <a:lnTo>
                    <a:pt x="268" y="252"/>
                  </a:lnTo>
                  <a:lnTo>
                    <a:pt x="264" y="258"/>
                  </a:lnTo>
                  <a:lnTo>
                    <a:pt x="264" y="266"/>
                  </a:lnTo>
                  <a:lnTo>
                    <a:pt x="300" y="266"/>
                  </a:lnTo>
                  <a:lnTo>
                    <a:pt x="300" y="230"/>
                  </a:lnTo>
                  <a:close/>
                </a:path>
              </a:pathLst>
            </a:custGeom>
            <a:grpFill/>
            <a:ln>
              <a:solidFill>
                <a:srgbClr val="406D6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40" name="Group 27">
            <a:extLst>
              <a:ext uri="{FF2B5EF4-FFF2-40B4-BE49-F238E27FC236}">
                <a16:creationId xmlns:a16="http://schemas.microsoft.com/office/drawing/2014/main" id="{0D81D81E-6672-5393-5A81-8F8E94D89779}"/>
              </a:ext>
            </a:extLst>
          </p:cNvPr>
          <p:cNvGrpSpPr/>
          <p:nvPr/>
        </p:nvGrpSpPr>
        <p:grpSpPr>
          <a:xfrm>
            <a:off x="296326" y="5121256"/>
            <a:ext cx="612000" cy="612000"/>
            <a:chOff x="1467520" y="5907019"/>
            <a:chExt cx="612000" cy="612000"/>
          </a:xfrm>
          <a:noFill/>
        </p:grpSpPr>
        <p:sp>
          <p:nvSpPr>
            <p:cNvPr id="41" name="Oval 139">
              <a:extLst>
                <a:ext uri="{FF2B5EF4-FFF2-40B4-BE49-F238E27FC236}">
                  <a16:creationId xmlns:a16="http://schemas.microsoft.com/office/drawing/2014/main" id="{4D4B7DB5-F9BB-D89F-5289-193BBAF11B82}"/>
                </a:ext>
              </a:extLst>
            </p:cNvPr>
            <p:cNvSpPr/>
            <p:nvPr/>
          </p:nvSpPr>
          <p:spPr bwMode="ltGray">
            <a:xfrm>
              <a:off x="1467520" y="5907019"/>
              <a:ext cx="612000" cy="612000"/>
            </a:xfrm>
            <a:prstGeom prst="ellipse">
              <a:avLst/>
            </a:prstGeom>
            <a:grpFill/>
            <a:ln w="3175" cap="flat" cmpd="sng" algn="ctr">
              <a:solidFill>
                <a:srgbClr val="406D6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42" name="Freeform 4831">
              <a:extLst>
                <a:ext uri="{FF2B5EF4-FFF2-40B4-BE49-F238E27FC236}">
                  <a16:creationId xmlns:a16="http://schemas.microsoft.com/office/drawing/2014/main" id="{489FE4F7-C7A5-746F-813F-97E7162A38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2671" y="6096691"/>
              <a:ext cx="501699" cy="270719"/>
            </a:xfrm>
            <a:custGeom>
              <a:avLst/>
              <a:gdLst>
                <a:gd name="T0" fmla="*/ 300 w 404"/>
                <a:gd name="T1" fmla="*/ 166 h 218"/>
                <a:gd name="T2" fmla="*/ 288 w 404"/>
                <a:gd name="T3" fmla="*/ 172 h 218"/>
                <a:gd name="T4" fmla="*/ 272 w 404"/>
                <a:gd name="T5" fmla="*/ 184 h 218"/>
                <a:gd name="T6" fmla="*/ 252 w 404"/>
                <a:gd name="T7" fmla="*/ 170 h 218"/>
                <a:gd name="T8" fmla="*/ 244 w 404"/>
                <a:gd name="T9" fmla="*/ 186 h 218"/>
                <a:gd name="T10" fmla="*/ 232 w 404"/>
                <a:gd name="T11" fmla="*/ 188 h 218"/>
                <a:gd name="T12" fmla="*/ 226 w 404"/>
                <a:gd name="T13" fmla="*/ 188 h 218"/>
                <a:gd name="T14" fmla="*/ 216 w 404"/>
                <a:gd name="T15" fmla="*/ 166 h 218"/>
                <a:gd name="T16" fmla="*/ 192 w 404"/>
                <a:gd name="T17" fmla="*/ 154 h 218"/>
                <a:gd name="T18" fmla="*/ 178 w 404"/>
                <a:gd name="T19" fmla="*/ 142 h 218"/>
                <a:gd name="T20" fmla="*/ 160 w 404"/>
                <a:gd name="T21" fmla="*/ 138 h 218"/>
                <a:gd name="T22" fmla="*/ 134 w 404"/>
                <a:gd name="T23" fmla="*/ 120 h 218"/>
                <a:gd name="T24" fmla="*/ 106 w 404"/>
                <a:gd name="T25" fmla="*/ 136 h 218"/>
                <a:gd name="T26" fmla="*/ 74 w 404"/>
                <a:gd name="T27" fmla="*/ 124 h 218"/>
                <a:gd name="T28" fmla="*/ 94 w 404"/>
                <a:gd name="T29" fmla="*/ 42 h 218"/>
                <a:gd name="T30" fmla="*/ 138 w 404"/>
                <a:gd name="T31" fmla="*/ 38 h 218"/>
                <a:gd name="T32" fmla="*/ 134 w 404"/>
                <a:gd name="T33" fmla="*/ 66 h 218"/>
                <a:gd name="T34" fmla="*/ 150 w 404"/>
                <a:gd name="T35" fmla="*/ 88 h 218"/>
                <a:gd name="T36" fmla="*/ 178 w 404"/>
                <a:gd name="T37" fmla="*/ 92 h 218"/>
                <a:gd name="T38" fmla="*/ 288 w 404"/>
                <a:gd name="T39" fmla="*/ 92 h 218"/>
                <a:gd name="T40" fmla="*/ 294 w 404"/>
                <a:gd name="T41" fmla="*/ 100 h 218"/>
                <a:gd name="T42" fmla="*/ 320 w 404"/>
                <a:gd name="T43" fmla="*/ 144 h 218"/>
                <a:gd name="T44" fmla="*/ 134 w 404"/>
                <a:gd name="T45" fmla="*/ 132 h 218"/>
                <a:gd name="T46" fmla="*/ 118 w 404"/>
                <a:gd name="T47" fmla="*/ 142 h 218"/>
                <a:gd name="T48" fmla="*/ 102 w 404"/>
                <a:gd name="T49" fmla="*/ 190 h 218"/>
                <a:gd name="T50" fmla="*/ 118 w 404"/>
                <a:gd name="T51" fmla="*/ 198 h 218"/>
                <a:gd name="T52" fmla="*/ 130 w 404"/>
                <a:gd name="T53" fmla="*/ 204 h 218"/>
                <a:gd name="T54" fmla="*/ 146 w 404"/>
                <a:gd name="T55" fmla="*/ 214 h 218"/>
                <a:gd name="T56" fmla="*/ 162 w 404"/>
                <a:gd name="T57" fmla="*/ 204 h 218"/>
                <a:gd name="T58" fmla="*/ 174 w 404"/>
                <a:gd name="T59" fmla="*/ 216 h 218"/>
                <a:gd name="T60" fmla="*/ 188 w 404"/>
                <a:gd name="T61" fmla="*/ 218 h 218"/>
                <a:gd name="T62" fmla="*/ 208 w 404"/>
                <a:gd name="T63" fmla="*/ 194 h 218"/>
                <a:gd name="T64" fmla="*/ 202 w 404"/>
                <a:gd name="T65" fmla="*/ 168 h 218"/>
                <a:gd name="T66" fmla="*/ 182 w 404"/>
                <a:gd name="T67" fmla="*/ 170 h 218"/>
                <a:gd name="T68" fmla="*/ 172 w 404"/>
                <a:gd name="T69" fmla="*/ 152 h 218"/>
                <a:gd name="T70" fmla="*/ 156 w 404"/>
                <a:gd name="T71" fmla="*/ 150 h 218"/>
                <a:gd name="T72" fmla="*/ 146 w 404"/>
                <a:gd name="T73" fmla="*/ 138 h 218"/>
                <a:gd name="T74" fmla="*/ 378 w 404"/>
                <a:gd name="T75" fmla="*/ 0 h 218"/>
                <a:gd name="T76" fmla="*/ 394 w 404"/>
                <a:gd name="T77" fmla="*/ 160 h 218"/>
                <a:gd name="T78" fmla="*/ 402 w 404"/>
                <a:gd name="T79" fmla="*/ 70 h 218"/>
                <a:gd name="T80" fmla="*/ 26 w 404"/>
                <a:gd name="T81" fmla="*/ 0 h 218"/>
                <a:gd name="T82" fmla="*/ 0 w 404"/>
                <a:gd name="T83" fmla="*/ 96 h 218"/>
                <a:gd name="T84" fmla="*/ 18 w 404"/>
                <a:gd name="T85" fmla="*/ 178 h 218"/>
                <a:gd name="T86" fmla="*/ 96 w 404"/>
                <a:gd name="T87" fmla="*/ 154 h 218"/>
                <a:gd name="T88" fmla="*/ 68 w 404"/>
                <a:gd name="T89" fmla="*/ 142 h 218"/>
                <a:gd name="T90" fmla="*/ 74 w 404"/>
                <a:gd name="T91" fmla="*/ 170 h 218"/>
                <a:gd name="T92" fmla="*/ 88 w 404"/>
                <a:gd name="T93" fmla="*/ 172 h 218"/>
                <a:gd name="T94" fmla="*/ 306 w 404"/>
                <a:gd name="T95" fmla="*/ 34 h 218"/>
                <a:gd name="T96" fmla="*/ 230 w 404"/>
                <a:gd name="T97" fmla="*/ 8 h 218"/>
                <a:gd name="T98" fmla="*/ 192 w 404"/>
                <a:gd name="T99" fmla="*/ 2 h 218"/>
                <a:gd name="T100" fmla="*/ 190 w 404"/>
                <a:gd name="T101" fmla="*/ 0 h 218"/>
                <a:gd name="T102" fmla="*/ 182 w 404"/>
                <a:gd name="T103" fmla="*/ 2 h 218"/>
                <a:gd name="T104" fmla="*/ 148 w 404"/>
                <a:gd name="T105" fmla="*/ 44 h 218"/>
                <a:gd name="T106" fmla="*/ 156 w 404"/>
                <a:gd name="T107" fmla="*/ 78 h 218"/>
                <a:gd name="T108" fmla="*/ 180 w 404"/>
                <a:gd name="T109" fmla="*/ 78 h 218"/>
                <a:gd name="T110" fmla="*/ 292 w 404"/>
                <a:gd name="T111" fmla="*/ 82 h 218"/>
                <a:gd name="T112" fmla="*/ 304 w 404"/>
                <a:gd name="T113" fmla="*/ 94 h 218"/>
                <a:gd name="T114" fmla="*/ 328 w 404"/>
                <a:gd name="T115" fmla="*/ 11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4" h="218">
                  <a:moveTo>
                    <a:pt x="310" y="162"/>
                  </a:moveTo>
                  <a:lnTo>
                    <a:pt x="310" y="162"/>
                  </a:lnTo>
                  <a:lnTo>
                    <a:pt x="306" y="164"/>
                  </a:lnTo>
                  <a:lnTo>
                    <a:pt x="300" y="166"/>
                  </a:lnTo>
                  <a:lnTo>
                    <a:pt x="300" y="166"/>
                  </a:lnTo>
                  <a:lnTo>
                    <a:pt x="296" y="164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90" y="168"/>
                  </a:lnTo>
                  <a:lnTo>
                    <a:pt x="288" y="172"/>
                  </a:lnTo>
                  <a:lnTo>
                    <a:pt x="286" y="176"/>
                  </a:lnTo>
                  <a:lnTo>
                    <a:pt x="282" y="180"/>
                  </a:lnTo>
                  <a:lnTo>
                    <a:pt x="282" y="180"/>
                  </a:lnTo>
                  <a:lnTo>
                    <a:pt x="276" y="182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62" y="180"/>
                  </a:lnTo>
                  <a:lnTo>
                    <a:pt x="258" y="178"/>
                  </a:lnTo>
                  <a:lnTo>
                    <a:pt x="256" y="174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0" y="178"/>
                  </a:lnTo>
                  <a:lnTo>
                    <a:pt x="248" y="182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8" y="188"/>
                  </a:lnTo>
                  <a:lnTo>
                    <a:pt x="234" y="188"/>
                  </a:lnTo>
                  <a:lnTo>
                    <a:pt x="234" y="188"/>
                  </a:lnTo>
                  <a:lnTo>
                    <a:pt x="232" y="188"/>
                  </a:lnTo>
                  <a:lnTo>
                    <a:pt x="232" y="188"/>
                  </a:lnTo>
                  <a:lnTo>
                    <a:pt x="230" y="188"/>
                  </a:lnTo>
                  <a:lnTo>
                    <a:pt x="230" y="188"/>
                  </a:lnTo>
                  <a:lnTo>
                    <a:pt x="228" y="188"/>
                  </a:lnTo>
                  <a:lnTo>
                    <a:pt x="228" y="188"/>
                  </a:lnTo>
                  <a:lnTo>
                    <a:pt x="226" y="188"/>
                  </a:lnTo>
                  <a:lnTo>
                    <a:pt x="222" y="188"/>
                  </a:lnTo>
                  <a:lnTo>
                    <a:pt x="222" y="188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16" y="166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0" y="156"/>
                  </a:lnTo>
                  <a:lnTo>
                    <a:pt x="192" y="154"/>
                  </a:lnTo>
                  <a:lnTo>
                    <a:pt x="192" y="154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6" y="146"/>
                  </a:lnTo>
                  <a:lnTo>
                    <a:pt x="178" y="142"/>
                  </a:lnTo>
                  <a:lnTo>
                    <a:pt x="178" y="142"/>
                  </a:lnTo>
                  <a:lnTo>
                    <a:pt x="170" y="138"/>
                  </a:lnTo>
                  <a:lnTo>
                    <a:pt x="162" y="138"/>
                  </a:lnTo>
                  <a:lnTo>
                    <a:pt x="162" y="138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56" y="130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2" y="122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6" y="122"/>
                  </a:lnTo>
                  <a:lnTo>
                    <a:pt x="118" y="124"/>
                  </a:lnTo>
                  <a:lnTo>
                    <a:pt x="112" y="130"/>
                  </a:lnTo>
                  <a:lnTo>
                    <a:pt x="106" y="136"/>
                  </a:lnTo>
                  <a:lnTo>
                    <a:pt x="102" y="144"/>
                  </a:lnTo>
                  <a:lnTo>
                    <a:pt x="80" y="132"/>
                  </a:lnTo>
                  <a:lnTo>
                    <a:pt x="80" y="132"/>
                  </a:lnTo>
                  <a:lnTo>
                    <a:pt x="76" y="128"/>
                  </a:lnTo>
                  <a:lnTo>
                    <a:pt x="74" y="124"/>
                  </a:lnTo>
                  <a:lnTo>
                    <a:pt x="72" y="120"/>
                  </a:lnTo>
                  <a:lnTo>
                    <a:pt x="74" y="114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4" y="42"/>
                  </a:lnTo>
                  <a:lnTo>
                    <a:pt x="98" y="38"/>
                  </a:lnTo>
                  <a:lnTo>
                    <a:pt x="102" y="36"/>
                  </a:lnTo>
                  <a:lnTo>
                    <a:pt x="106" y="36"/>
                  </a:lnTo>
                  <a:lnTo>
                    <a:pt x="140" y="34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4" y="46"/>
                  </a:lnTo>
                  <a:lnTo>
                    <a:pt x="132" y="52"/>
                  </a:lnTo>
                  <a:lnTo>
                    <a:pt x="132" y="60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6" y="72"/>
                  </a:lnTo>
                  <a:lnTo>
                    <a:pt x="140" y="78"/>
                  </a:lnTo>
                  <a:lnTo>
                    <a:pt x="144" y="84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8" y="92"/>
                  </a:lnTo>
                  <a:lnTo>
                    <a:pt x="168" y="92"/>
                  </a:lnTo>
                  <a:lnTo>
                    <a:pt x="168" y="92"/>
                  </a:lnTo>
                  <a:lnTo>
                    <a:pt x="178" y="92"/>
                  </a:lnTo>
                  <a:lnTo>
                    <a:pt x="186" y="88"/>
                  </a:lnTo>
                  <a:lnTo>
                    <a:pt x="194" y="82"/>
                  </a:lnTo>
                  <a:lnTo>
                    <a:pt x="198" y="74"/>
                  </a:lnTo>
                  <a:lnTo>
                    <a:pt x="212" y="52"/>
                  </a:lnTo>
                  <a:lnTo>
                    <a:pt x="288" y="92"/>
                  </a:lnTo>
                  <a:lnTo>
                    <a:pt x="288" y="92"/>
                  </a:lnTo>
                  <a:lnTo>
                    <a:pt x="290" y="94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4" y="100"/>
                  </a:lnTo>
                  <a:lnTo>
                    <a:pt x="296" y="100"/>
                  </a:lnTo>
                  <a:lnTo>
                    <a:pt x="318" y="136"/>
                  </a:lnTo>
                  <a:lnTo>
                    <a:pt x="318" y="136"/>
                  </a:lnTo>
                  <a:lnTo>
                    <a:pt x="320" y="144"/>
                  </a:lnTo>
                  <a:lnTo>
                    <a:pt x="320" y="150"/>
                  </a:lnTo>
                  <a:lnTo>
                    <a:pt x="316" y="158"/>
                  </a:lnTo>
                  <a:lnTo>
                    <a:pt x="310" y="162"/>
                  </a:lnTo>
                  <a:lnTo>
                    <a:pt x="310" y="162"/>
                  </a:lnTo>
                  <a:close/>
                  <a:moveTo>
                    <a:pt x="134" y="132"/>
                  </a:moveTo>
                  <a:lnTo>
                    <a:pt x="134" y="132"/>
                  </a:lnTo>
                  <a:lnTo>
                    <a:pt x="128" y="132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18" y="142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98" y="176"/>
                  </a:lnTo>
                  <a:lnTo>
                    <a:pt x="100" y="184"/>
                  </a:lnTo>
                  <a:lnTo>
                    <a:pt x="102" y="190"/>
                  </a:lnTo>
                  <a:lnTo>
                    <a:pt x="108" y="194"/>
                  </a:lnTo>
                  <a:lnTo>
                    <a:pt x="108" y="194"/>
                  </a:lnTo>
                  <a:lnTo>
                    <a:pt x="112" y="196"/>
                  </a:lnTo>
                  <a:lnTo>
                    <a:pt x="118" y="198"/>
                  </a:lnTo>
                  <a:lnTo>
                    <a:pt x="118" y="198"/>
                  </a:lnTo>
                  <a:lnTo>
                    <a:pt x="122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204"/>
                  </a:lnTo>
                  <a:lnTo>
                    <a:pt x="132" y="208"/>
                  </a:lnTo>
                  <a:lnTo>
                    <a:pt x="138" y="212"/>
                  </a:lnTo>
                  <a:lnTo>
                    <a:pt x="138" y="212"/>
                  </a:lnTo>
                  <a:lnTo>
                    <a:pt x="142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52" y="214"/>
                  </a:lnTo>
                  <a:lnTo>
                    <a:pt x="156" y="212"/>
                  </a:lnTo>
                  <a:lnTo>
                    <a:pt x="160" y="208"/>
                  </a:lnTo>
                  <a:lnTo>
                    <a:pt x="162" y="204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8" y="208"/>
                  </a:lnTo>
                  <a:lnTo>
                    <a:pt x="170" y="212"/>
                  </a:lnTo>
                  <a:lnTo>
                    <a:pt x="174" y="216"/>
                  </a:lnTo>
                  <a:lnTo>
                    <a:pt x="174" y="216"/>
                  </a:lnTo>
                  <a:lnTo>
                    <a:pt x="178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6"/>
                  </a:lnTo>
                  <a:lnTo>
                    <a:pt x="196" y="212"/>
                  </a:lnTo>
                  <a:lnTo>
                    <a:pt x="200" y="208"/>
                  </a:lnTo>
                  <a:lnTo>
                    <a:pt x="208" y="194"/>
                  </a:lnTo>
                  <a:lnTo>
                    <a:pt x="208" y="194"/>
                  </a:lnTo>
                  <a:lnTo>
                    <a:pt x="210" y="188"/>
                  </a:lnTo>
                  <a:lnTo>
                    <a:pt x="210" y="180"/>
                  </a:lnTo>
                  <a:lnTo>
                    <a:pt x="206" y="174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196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86" y="168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0" y="164"/>
                  </a:lnTo>
                  <a:lnTo>
                    <a:pt x="180" y="160"/>
                  </a:lnTo>
                  <a:lnTo>
                    <a:pt x="176" y="156"/>
                  </a:lnTo>
                  <a:lnTo>
                    <a:pt x="172" y="152"/>
                  </a:lnTo>
                  <a:lnTo>
                    <a:pt x="172" y="152"/>
                  </a:lnTo>
                  <a:lnTo>
                    <a:pt x="168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56" y="150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0" y="142"/>
                  </a:lnTo>
                  <a:lnTo>
                    <a:pt x="146" y="138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2"/>
                  </a:lnTo>
                  <a:lnTo>
                    <a:pt x="134" y="132"/>
                  </a:lnTo>
                  <a:close/>
                  <a:moveTo>
                    <a:pt x="378" y="0"/>
                  </a:moveTo>
                  <a:lnTo>
                    <a:pt x="316" y="18"/>
                  </a:lnTo>
                  <a:lnTo>
                    <a:pt x="366" y="184"/>
                  </a:lnTo>
                  <a:lnTo>
                    <a:pt x="386" y="178"/>
                  </a:lnTo>
                  <a:lnTo>
                    <a:pt x="386" y="178"/>
                  </a:lnTo>
                  <a:lnTo>
                    <a:pt x="394" y="160"/>
                  </a:lnTo>
                  <a:lnTo>
                    <a:pt x="398" y="140"/>
                  </a:lnTo>
                  <a:lnTo>
                    <a:pt x="402" y="118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02" y="70"/>
                  </a:lnTo>
                  <a:lnTo>
                    <a:pt x="398" y="46"/>
                  </a:lnTo>
                  <a:lnTo>
                    <a:pt x="390" y="22"/>
                  </a:lnTo>
                  <a:lnTo>
                    <a:pt x="378" y="0"/>
                  </a:lnTo>
                  <a:lnTo>
                    <a:pt x="378" y="0"/>
                  </a:lnTo>
                  <a:close/>
                  <a:moveTo>
                    <a:pt x="26" y="0"/>
                  </a:moveTo>
                  <a:lnTo>
                    <a:pt x="26" y="0"/>
                  </a:lnTo>
                  <a:lnTo>
                    <a:pt x="14" y="22"/>
                  </a:lnTo>
                  <a:lnTo>
                    <a:pt x="6" y="46"/>
                  </a:lnTo>
                  <a:lnTo>
                    <a:pt x="2" y="7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118"/>
                  </a:lnTo>
                  <a:lnTo>
                    <a:pt x="6" y="140"/>
                  </a:lnTo>
                  <a:lnTo>
                    <a:pt x="10" y="160"/>
                  </a:lnTo>
                  <a:lnTo>
                    <a:pt x="18" y="178"/>
                  </a:lnTo>
                  <a:lnTo>
                    <a:pt x="40" y="184"/>
                  </a:lnTo>
                  <a:lnTo>
                    <a:pt x="88" y="18"/>
                  </a:lnTo>
                  <a:lnTo>
                    <a:pt x="26" y="0"/>
                  </a:lnTo>
                  <a:close/>
                  <a:moveTo>
                    <a:pt x="90" y="164"/>
                  </a:moveTo>
                  <a:lnTo>
                    <a:pt x="96" y="15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0" y="138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8" y="164"/>
                  </a:lnTo>
                  <a:lnTo>
                    <a:pt x="74" y="170"/>
                  </a:lnTo>
                  <a:lnTo>
                    <a:pt x="74" y="170"/>
                  </a:lnTo>
                  <a:lnTo>
                    <a:pt x="80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328" y="106"/>
                  </a:moveTo>
                  <a:lnTo>
                    <a:pt x="306" y="34"/>
                  </a:lnTo>
                  <a:lnTo>
                    <a:pt x="306" y="34"/>
                  </a:lnTo>
                  <a:lnTo>
                    <a:pt x="304" y="30"/>
                  </a:lnTo>
                  <a:lnTo>
                    <a:pt x="300" y="26"/>
                  </a:lnTo>
                  <a:lnTo>
                    <a:pt x="296" y="24"/>
                  </a:lnTo>
                  <a:lnTo>
                    <a:pt x="292" y="22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230" y="8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2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90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2" y="2"/>
                  </a:lnTo>
                  <a:lnTo>
                    <a:pt x="176" y="4"/>
                  </a:lnTo>
                  <a:lnTo>
                    <a:pt x="170" y="8"/>
                  </a:lnTo>
                  <a:lnTo>
                    <a:pt x="166" y="12"/>
                  </a:lnTo>
                  <a:lnTo>
                    <a:pt x="148" y="44"/>
                  </a:lnTo>
                  <a:lnTo>
                    <a:pt x="148" y="44"/>
                  </a:lnTo>
                  <a:lnTo>
                    <a:pt x="144" y="54"/>
                  </a:lnTo>
                  <a:lnTo>
                    <a:pt x="146" y="62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56" y="78"/>
                  </a:lnTo>
                  <a:lnTo>
                    <a:pt x="162" y="80"/>
                  </a:lnTo>
                  <a:lnTo>
                    <a:pt x="168" y="80"/>
                  </a:lnTo>
                  <a:lnTo>
                    <a:pt x="168" y="80"/>
                  </a:lnTo>
                  <a:lnTo>
                    <a:pt x="174" y="80"/>
                  </a:lnTo>
                  <a:lnTo>
                    <a:pt x="180" y="78"/>
                  </a:lnTo>
                  <a:lnTo>
                    <a:pt x="184" y="74"/>
                  </a:lnTo>
                  <a:lnTo>
                    <a:pt x="188" y="68"/>
                  </a:lnTo>
                  <a:lnTo>
                    <a:pt x="208" y="36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8" y="86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6" y="9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0"/>
                  </a:lnTo>
                  <a:lnTo>
                    <a:pt x="328" y="116"/>
                  </a:lnTo>
                  <a:lnTo>
                    <a:pt x="330" y="110"/>
                  </a:lnTo>
                  <a:lnTo>
                    <a:pt x="328" y="106"/>
                  </a:lnTo>
                  <a:lnTo>
                    <a:pt x="328" y="106"/>
                  </a:lnTo>
                  <a:close/>
                </a:path>
              </a:pathLst>
            </a:custGeom>
            <a:grpFill/>
            <a:ln>
              <a:solidFill>
                <a:srgbClr val="406D6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49" name="Group 10">
            <a:extLst>
              <a:ext uri="{FF2B5EF4-FFF2-40B4-BE49-F238E27FC236}">
                <a16:creationId xmlns:a16="http://schemas.microsoft.com/office/drawing/2014/main" id="{2E406AFB-7073-A4E6-74B2-90CA67DDFC69}"/>
              </a:ext>
            </a:extLst>
          </p:cNvPr>
          <p:cNvGrpSpPr/>
          <p:nvPr/>
        </p:nvGrpSpPr>
        <p:grpSpPr>
          <a:xfrm>
            <a:off x="6593714" y="1561054"/>
            <a:ext cx="612000" cy="612000"/>
            <a:chOff x="1467520" y="2258092"/>
            <a:chExt cx="612000" cy="612000"/>
          </a:xfrm>
          <a:noFill/>
        </p:grpSpPr>
        <p:sp>
          <p:nvSpPr>
            <p:cNvPr id="50" name="Oval 115">
              <a:extLst>
                <a:ext uri="{FF2B5EF4-FFF2-40B4-BE49-F238E27FC236}">
                  <a16:creationId xmlns:a16="http://schemas.microsoft.com/office/drawing/2014/main" id="{3BAFBAD3-CB6B-3306-A787-FF0A64B78829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grpFill/>
            <a:ln w="3175" cap="flat" cmpd="sng" algn="ctr">
              <a:solidFill>
                <a:srgbClr val="406D6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51" name="Freeform 4803">
              <a:extLst>
                <a:ext uri="{FF2B5EF4-FFF2-40B4-BE49-F238E27FC236}">
                  <a16:creationId xmlns:a16="http://schemas.microsoft.com/office/drawing/2014/main" id="{B9368B3B-D6DF-778E-D2E5-B0C3191EAC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081" y="2365878"/>
              <a:ext cx="460878" cy="335852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grpFill/>
            <a:ln>
              <a:solidFill>
                <a:srgbClr val="406D6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52" name="Group 12">
            <a:extLst>
              <a:ext uri="{FF2B5EF4-FFF2-40B4-BE49-F238E27FC236}">
                <a16:creationId xmlns:a16="http://schemas.microsoft.com/office/drawing/2014/main" id="{A2763627-24C6-C80C-4166-15B8BB0627A2}"/>
              </a:ext>
            </a:extLst>
          </p:cNvPr>
          <p:cNvGrpSpPr/>
          <p:nvPr/>
        </p:nvGrpSpPr>
        <p:grpSpPr>
          <a:xfrm>
            <a:off x="296326" y="4207033"/>
            <a:ext cx="612000" cy="612000"/>
            <a:chOff x="3216946" y="2258092"/>
            <a:chExt cx="612000" cy="612000"/>
          </a:xfrm>
          <a:noFill/>
        </p:grpSpPr>
        <p:sp>
          <p:nvSpPr>
            <p:cNvPr id="53" name="Oval 117">
              <a:extLst>
                <a:ext uri="{FF2B5EF4-FFF2-40B4-BE49-F238E27FC236}">
                  <a16:creationId xmlns:a16="http://schemas.microsoft.com/office/drawing/2014/main" id="{98A4583F-2D17-4BF8-6FB7-AD97BE69487B}"/>
                </a:ext>
              </a:extLst>
            </p:cNvPr>
            <p:cNvSpPr/>
            <p:nvPr/>
          </p:nvSpPr>
          <p:spPr bwMode="ltGray">
            <a:xfrm>
              <a:off x="3216946" y="2258092"/>
              <a:ext cx="612000" cy="612000"/>
            </a:xfrm>
            <a:prstGeom prst="ellipse">
              <a:avLst/>
            </a:prstGeom>
            <a:grpFill/>
            <a:ln w="3175" cap="flat" cmpd="sng" algn="ctr">
              <a:solidFill>
                <a:srgbClr val="406D69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54" name="Freeform 4806">
              <a:extLst>
                <a:ext uri="{FF2B5EF4-FFF2-40B4-BE49-F238E27FC236}">
                  <a16:creationId xmlns:a16="http://schemas.microsoft.com/office/drawing/2014/main" id="{A10809CF-95FA-798A-EE1E-EFA846FCA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99862" y="2321752"/>
              <a:ext cx="446169" cy="392236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>
              <a:solidFill>
                <a:srgbClr val="406D6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01882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55" name="Group 6314">
            <a:extLst>
              <a:ext uri="{FF2B5EF4-FFF2-40B4-BE49-F238E27FC236}">
                <a16:creationId xmlns:a16="http://schemas.microsoft.com/office/drawing/2014/main" id="{CF3FB89F-A097-043F-089F-815409F54849}"/>
              </a:ext>
            </a:extLst>
          </p:cNvPr>
          <p:cNvGrpSpPr/>
          <p:nvPr/>
        </p:nvGrpSpPr>
        <p:grpSpPr>
          <a:xfrm>
            <a:off x="299424" y="3311830"/>
            <a:ext cx="612000" cy="612000"/>
            <a:chOff x="9617181" y="4690710"/>
            <a:chExt cx="612000" cy="612000"/>
          </a:xfrm>
          <a:noFill/>
        </p:grpSpPr>
        <p:sp>
          <p:nvSpPr>
            <p:cNvPr id="56" name="Oval 163">
              <a:extLst>
                <a:ext uri="{FF2B5EF4-FFF2-40B4-BE49-F238E27FC236}">
                  <a16:creationId xmlns:a16="http://schemas.microsoft.com/office/drawing/2014/main" id="{019B52B2-4AC7-9C07-71FD-17472ECE2C37}"/>
                </a:ext>
              </a:extLst>
            </p:cNvPr>
            <p:cNvSpPr/>
            <p:nvPr/>
          </p:nvSpPr>
          <p:spPr bwMode="ltGray">
            <a:xfrm>
              <a:off x="9617181" y="4690710"/>
              <a:ext cx="612000" cy="612000"/>
            </a:xfrm>
            <a:prstGeom prst="ellipse">
              <a:avLst/>
            </a:prstGeom>
            <a:grpFill/>
            <a:ln w="3175">
              <a:solidFill>
                <a:srgbClr val="406D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7" name="Freeform 4851">
              <a:extLst>
                <a:ext uri="{FF2B5EF4-FFF2-40B4-BE49-F238E27FC236}">
                  <a16:creationId xmlns:a16="http://schemas.microsoft.com/office/drawing/2014/main" id="{B23ADF09-29C8-D1F2-CAD4-A603C446A2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3458" y="4818431"/>
              <a:ext cx="438669" cy="463039"/>
            </a:xfrm>
            <a:custGeom>
              <a:avLst/>
              <a:gdLst>
                <a:gd name="T0" fmla="*/ 248 w 360"/>
                <a:gd name="T1" fmla="*/ 8 h 380"/>
                <a:gd name="T2" fmla="*/ 274 w 360"/>
                <a:gd name="T3" fmla="*/ 0 h 380"/>
                <a:gd name="T4" fmla="*/ 298 w 360"/>
                <a:gd name="T5" fmla="*/ 28 h 380"/>
                <a:gd name="T6" fmla="*/ 280 w 360"/>
                <a:gd name="T7" fmla="*/ 56 h 380"/>
                <a:gd name="T8" fmla="*/ 258 w 360"/>
                <a:gd name="T9" fmla="*/ 56 h 380"/>
                <a:gd name="T10" fmla="*/ 240 w 360"/>
                <a:gd name="T11" fmla="*/ 28 h 380"/>
                <a:gd name="T12" fmla="*/ 344 w 360"/>
                <a:gd name="T13" fmla="*/ 88 h 380"/>
                <a:gd name="T14" fmla="*/ 288 w 360"/>
                <a:gd name="T15" fmla="*/ 68 h 380"/>
                <a:gd name="T16" fmla="*/ 214 w 360"/>
                <a:gd name="T17" fmla="*/ 70 h 380"/>
                <a:gd name="T18" fmla="*/ 194 w 360"/>
                <a:gd name="T19" fmla="*/ 90 h 380"/>
                <a:gd name="T20" fmla="*/ 224 w 360"/>
                <a:gd name="T21" fmla="*/ 114 h 380"/>
                <a:gd name="T22" fmla="*/ 248 w 360"/>
                <a:gd name="T23" fmla="*/ 166 h 380"/>
                <a:gd name="T24" fmla="*/ 234 w 360"/>
                <a:gd name="T25" fmla="*/ 208 h 380"/>
                <a:gd name="T26" fmla="*/ 278 w 360"/>
                <a:gd name="T27" fmla="*/ 214 h 380"/>
                <a:gd name="T28" fmla="*/ 310 w 360"/>
                <a:gd name="T29" fmla="*/ 244 h 380"/>
                <a:gd name="T30" fmla="*/ 332 w 360"/>
                <a:gd name="T31" fmla="*/ 200 h 380"/>
                <a:gd name="T32" fmla="*/ 348 w 360"/>
                <a:gd name="T33" fmla="*/ 208 h 380"/>
                <a:gd name="T34" fmla="*/ 360 w 360"/>
                <a:gd name="T35" fmla="*/ 190 h 380"/>
                <a:gd name="T36" fmla="*/ 102 w 360"/>
                <a:gd name="T37" fmla="*/ 56 h 380"/>
                <a:gd name="T38" fmla="*/ 120 w 360"/>
                <a:gd name="T39" fmla="*/ 28 h 380"/>
                <a:gd name="T40" fmla="*/ 98 w 360"/>
                <a:gd name="T41" fmla="*/ 0 h 380"/>
                <a:gd name="T42" fmla="*/ 70 w 360"/>
                <a:gd name="T43" fmla="*/ 8 h 380"/>
                <a:gd name="T44" fmla="*/ 62 w 360"/>
                <a:gd name="T45" fmla="*/ 34 h 380"/>
                <a:gd name="T46" fmla="*/ 92 w 360"/>
                <a:gd name="T47" fmla="*/ 58 h 380"/>
                <a:gd name="T48" fmla="*/ 50 w 360"/>
                <a:gd name="T49" fmla="*/ 244 h 380"/>
                <a:gd name="T50" fmla="*/ 74 w 360"/>
                <a:gd name="T51" fmla="*/ 218 h 380"/>
                <a:gd name="T52" fmla="*/ 126 w 360"/>
                <a:gd name="T53" fmla="*/ 208 h 380"/>
                <a:gd name="T54" fmla="*/ 112 w 360"/>
                <a:gd name="T55" fmla="*/ 166 h 380"/>
                <a:gd name="T56" fmla="*/ 128 w 360"/>
                <a:gd name="T57" fmla="*/ 122 h 380"/>
                <a:gd name="T58" fmla="*/ 166 w 360"/>
                <a:gd name="T59" fmla="*/ 90 h 380"/>
                <a:gd name="T60" fmla="*/ 154 w 360"/>
                <a:gd name="T61" fmla="*/ 74 h 380"/>
                <a:gd name="T62" fmla="*/ 72 w 360"/>
                <a:gd name="T63" fmla="*/ 68 h 380"/>
                <a:gd name="T64" fmla="*/ 20 w 360"/>
                <a:gd name="T65" fmla="*/ 80 h 380"/>
                <a:gd name="T66" fmla="*/ 0 w 360"/>
                <a:gd name="T67" fmla="*/ 190 h 380"/>
                <a:gd name="T68" fmla="*/ 12 w 360"/>
                <a:gd name="T69" fmla="*/ 208 h 380"/>
                <a:gd name="T70" fmla="*/ 28 w 360"/>
                <a:gd name="T71" fmla="*/ 200 h 380"/>
                <a:gd name="T72" fmla="*/ 170 w 360"/>
                <a:gd name="T73" fmla="*/ 118 h 380"/>
                <a:gd name="T74" fmla="*/ 136 w 360"/>
                <a:gd name="T75" fmla="*/ 146 h 380"/>
                <a:gd name="T76" fmla="*/ 136 w 360"/>
                <a:gd name="T77" fmla="*/ 184 h 380"/>
                <a:gd name="T78" fmla="*/ 170 w 360"/>
                <a:gd name="T79" fmla="*/ 214 h 380"/>
                <a:gd name="T80" fmla="*/ 208 w 360"/>
                <a:gd name="T81" fmla="*/ 206 h 380"/>
                <a:gd name="T82" fmla="*/ 228 w 360"/>
                <a:gd name="T83" fmla="*/ 166 h 380"/>
                <a:gd name="T84" fmla="*/ 214 w 360"/>
                <a:gd name="T85" fmla="*/ 132 h 380"/>
                <a:gd name="T86" fmla="*/ 296 w 360"/>
                <a:gd name="T87" fmla="*/ 260 h 380"/>
                <a:gd name="T88" fmla="*/ 288 w 360"/>
                <a:gd name="T89" fmla="*/ 246 h 380"/>
                <a:gd name="T90" fmla="*/ 180 w 360"/>
                <a:gd name="T91" fmla="*/ 278 h 380"/>
                <a:gd name="T92" fmla="*/ 82 w 360"/>
                <a:gd name="T93" fmla="*/ 236 h 380"/>
                <a:gd name="T94" fmla="*/ 64 w 360"/>
                <a:gd name="T95" fmla="*/ 260 h 380"/>
                <a:gd name="T96" fmla="*/ 106 w 360"/>
                <a:gd name="T97" fmla="*/ 304 h 380"/>
                <a:gd name="T98" fmla="*/ 146 w 360"/>
                <a:gd name="T99" fmla="*/ 378 h 380"/>
                <a:gd name="T100" fmla="*/ 214 w 360"/>
                <a:gd name="T101" fmla="*/ 378 h 380"/>
                <a:gd name="T102" fmla="*/ 264 w 360"/>
                <a:gd name="T103" fmla="*/ 36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0" h="380">
                  <a:moveTo>
                    <a:pt x="240" y="28"/>
                  </a:moveTo>
                  <a:lnTo>
                    <a:pt x="240" y="28"/>
                  </a:lnTo>
                  <a:lnTo>
                    <a:pt x="240" y="22"/>
                  </a:lnTo>
                  <a:lnTo>
                    <a:pt x="242" y="18"/>
                  </a:lnTo>
                  <a:lnTo>
                    <a:pt x="248" y="8"/>
                  </a:lnTo>
                  <a:lnTo>
                    <a:pt x="258" y="2"/>
                  </a:lnTo>
                  <a:lnTo>
                    <a:pt x="262" y="0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274" y="0"/>
                  </a:lnTo>
                  <a:lnTo>
                    <a:pt x="280" y="2"/>
                  </a:lnTo>
                  <a:lnTo>
                    <a:pt x="290" y="8"/>
                  </a:lnTo>
                  <a:lnTo>
                    <a:pt x="296" y="18"/>
                  </a:lnTo>
                  <a:lnTo>
                    <a:pt x="298" y="22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4"/>
                  </a:lnTo>
                  <a:lnTo>
                    <a:pt x="296" y="40"/>
                  </a:lnTo>
                  <a:lnTo>
                    <a:pt x="290" y="50"/>
                  </a:lnTo>
                  <a:lnTo>
                    <a:pt x="280" y="56"/>
                  </a:lnTo>
                  <a:lnTo>
                    <a:pt x="274" y="58"/>
                  </a:lnTo>
                  <a:lnTo>
                    <a:pt x="268" y="58"/>
                  </a:lnTo>
                  <a:lnTo>
                    <a:pt x="268" y="58"/>
                  </a:lnTo>
                  <a:lnTo>
                    <a:pt x="262" y="58"/>
                  </a:lnTo>
                  <a:lnTo>
                    <a:pt x="258" y="56"/>
                  </a:lnTo>
                  <a:lnTo>
                    <a:pt x="248" y="50"/>
                  </a:lnTo>
                  <a:lnTo>
                    <a:pt x="242" y="40"/>
                  </a:lnTo>
                  <a:lnTo>
                    <a:pt x="240" y="34"/>
                  </a:lnTo>
                  <a:lnTo>
                    <a:pt x="240" y="28"/>
                  </a:lnTo>
                  <a:lnTo>
                    <a:pt x="240" y="28"/>
                  </a:lnTo>
                  <a:close/>
                  <a:moveTo>
                    <a:pt x="360" y="190"/>
                  </a:moveTo>
                  <a:lnTo>
                    <a:pt x="344" y="90"/>
                  </a:lnTo>
                  <a:lnTo>
                    <a:pt x="344" y="90"/>
                  </a:lnTo>
                  <a:lnTo>
                    <a:pt x="344" y="88"/>
                  </a:lnTo>
                  <a:lnTo>
                    <a:pt x="344" y="88"/>
                  </a:lnTo>
                  <a:lnTo>
                    <a:pt x="340" y="80"/>
                  </a:lnTo>
                  <a:lnTo>
                    <a:pt x="332" y="74"/>
                  </a:lnTo>
                  <a:lnTo>
                    <a:pt x="324" y="70"/>
                  </a:lnTo>
                  <a:lnTo>
                    <a:pt x="314" y="68"/>
                  </a:lnTo>
                  <a:lnTo>
                    <a:pt x="288" y="68"/>
                  </a:lnTo>
                  <a:lnTo>
                    <a:pt x="270" y="102"/>
                  </a:lnTo>
                  <a:lnTo>
                    <a:pt x="250" y="68"/>
                  </a:lnTo>
                  <a:lnTo>
                    <a:pt x="222" y="68"/>
                  </a:lnTo>
                  <a:lnTo>
                    <a:pt x="222" y="68"/>
                  </a:lnTo>
                  <a:lnTo>
                    <a:pt x="214" y="70"/>
                  </a:lnTo>
                  <a:lnTo>
                    <a:pt x="206" y="74"/>
                  </a:lnTo>
                  <a:lnTo>
                    <a:pt x="198" y="80"/>
                  </a:lnTo>
                  <a:lnTo>
                    <a:pt x="194" y="88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2" y="98"/>
                  </a:lnTo>
                  <a:lnTo>
                    <a:pt x="192" y="98"/>
                  </a:lnTo>
                  <a:lnTo>
                    <a:pt x="204" y="102"/>
                  </a:lnTo>
                  <a:lnTo>
                    <a:pt x="214" y="106"/>
                  </a:lnTo>
                  <a:lnTo>
                    <a:pt x="224" y="114"/>
                  </a:lnTo>
                  <a:lnTo>
                    <a:pt x="232" y="122"/>
                  </a:lnTo>
                  <a:lnTo>
                    <a:pt x="240" y="132"/>
                  </a:lnTo>
                  <a:lnTo>
                    <a:pt x="244" y="142"/>
                  </a:lnTo>
                  <a:lnTo>
                    <a:pt x="248" y="154"/>
                  </a:lnTo>
                  <a:lnTo>
                    <a:pt x="248" y="166"/>
                  </a:lnTo>
                  <a:lnTo>
                    <a:pt x="248" y="166"/>
                  </a:lnTo>
                  <a:lnTo>
                    <a:pt x="248" y="178"/>
                  </a:lnTo>
                  <a:lnTo>
                    <a:pt x="246" y="188"/>
                  </a:lnTo>
                  <a:lnTo>
                    <a:pt x="240" y="198"/>
                  </a:lnTo>
                  <a:lnTo>
                    <a:pt x="234" y="208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60" y="208"/>
                  </a:lnTo>
                  <a:lnTo>
                    <a:pt x="270" y="210"/>
                  </a:lnTo>
                  <a:lnTo>
                    <a:pt x="278" y="214"/>
                  </a:lnTo>
                  <a:lnTo>
                    <a:pt x="286" y="218"/>
                  </a:lnTo>
                  <a:lnTo>
                    <a:pt x="294" y="222"/>
                  </a:lnTo>
                  <a:lnTo>
                    <a:pt x="300" y="228"/>
                  </a:lnTo>
                  <a:lnTo>
                    <a:pt x="306" y="236"/>
                  </a:lnTo>
                  <a:lnTo>
                    <a:pt x="310" y="244"/>
                  </a:lnTo>
                  <a:lnTo>
                    <a:pt x="308" y="118"/>
                  </a:lnTo>
                  <a:lnTo>
                    <a:pt x="318" y="118"/>
                  </a:lnTo>
                  <a:lnTo>
                    <a:pt x="330" y="196"/>
                  </a:lnTo>
                  <a:lnTo>
                    <a:pt x="330" y="196"/>
                  </a:lnTo>
                  <a:lnTo>
                    <a:pt x="332" y="200"/>
                  </a:lnTo>
                  <a:lnTo>
                    <a:pt x="336" y="204"/>
                  </a:lnTo>
                  <a:lnTo>
                    <a:pt x="340" y="208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8" y="208"/>
                  </a:lnTo>
                  <a:lnTo>
                    <a:pt x="348" y="208"/>
                  </a:lnTo>
                  <a:lnTo>
                    <a:pt x="354" y="206"/>
                  </a:lnTo>
                  <a:lnTo>
                    <a:pt x="358" y="202"/>
                  </a:lnTo>
                  <a:lnTo>
                    <a:pt x="360" y="196"/>
                  </a:lnTo>
                  <a:lnTo>
                    <a:pt x="360" y="190"/>
                  </a:lnTo>
                  <a:lnTo>
                    <a:pt x="360" y="190"/>
                  </a:lnTo>
                  <a:close/>
                  <a:moveTo>
                    <a:pt x="92" y="58"/>
                  </a:moveTo>
                  <a:lnTo>
                    <a:pt x="92" y="58"/>
                  </a:lnTo>
                  <a:lnTo>
                    <a:pt x="98" y="58"/>
                  </a:lnTo>
                  <a:lnTo>
                    <a:pt x="102" y="5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20" y="34"/>
                  </a:lnTo>
                  <a:lnTo>
                    <a:pt x="120" y="28"/>
                  </a:lnTo>
                  <a:lnTo>
                    <a:pt x="120" y="28"/>
                  </a:lnTo>
                  <a:lnTo>
                    <a:pt x="120" y="22"/>
                  </a:lnTo>
                  <a:lnTo>
                    <a:pt x="118" y="18"/>
                  </a:lnTo>
                  <a:lnTo>
                    <a:pt x="112" y="8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6" y="0"/>
                  </a:lnTo>
                  <a:lnTo>
                    <a:pt x="80" y="2"/>
                  </a:lnTo>
                  <a:lnTo>
                    <a:pt x="70" y="8"/>
                  </a:lnTo>
                  <a:lnTo>
                    <a:pt x="64" y="18"/>
                  </a:lnTo>
                  <a:lnTo>
                    <a:pt x="62" y="22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2" y="34"/>
                  </a:lnTo>
                  <a:lnTo>
                    <a:pt x="64" y="40"/>
                  </a:lnTo>
                  <a:lnTo>
                    <a:pt x="70" y="50"/>
                  </a:lnTo>
                  <a:lnTo>
                    <a:pt x="80" y="56"/>
                  </a:lnTo>
                  <a:lnTo>
                    <a:pt x="86" y="58"/>
                  </a:lnTo>
                  <a:lnTo>
                    <a:pt x="92" y="58"/>
                  </a:lnTo>
                  <a:lnTo>
                    <a:pt x="92" y="58"/>
                  </a:lnTo>
                  <a:close/>
                  <a:moveTo>
                    <a:pt x="30" y="196"/>
                  </a:moveTo>
                  <a:lnTo>
                    <a:pt x="42" y="118"/>
                  </a:lnTo>
                  <a:lnTo>
                    <a:pt x="52" y="118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4" y="236"/>
                  </a:lnTo>
                  <a:lnTo>
                    <a:pt x="60" y="228"/>
                  </a:lnTo>
                  <a:lnTo>
                    <a:pt x="66" y="222"/>
                  </a:lnTo>
                  <a:lnTo>
                    <a:pt x="74" y="218"/>
                  </a:lnTo>
                  <a:lnTo>
                    <a:pt x="82" y="214"/>
                  </a:lnTo>
                  <a:lnTo>
                    <a:pt x="90" y="210"/>
                  </a:lnTo>
                  <a:lnTo>
                    <a:pt x="100" y="208"/>
                  </a:lnTo>
                  <a:lnTo>
                    <a:pt x="110" y="208"/>
                  </a:lnTo>
                  <a:lnTo>
                    <a:pt x="126" y="208"/>
                  </a:lnTo>
                  <a:lnTo>
                    <a:pt x="126" y="208"/>
                  </a:lnTo>
                  <a:lnTo>
                    <a:pt x="120" y="198"/>
                  </a:lnTo>
                  <a:lnTo>
                    <a:pt x="114" y="188"/>
                  </a:lnTo>
                  <a:lnTo>
                    <a:pt x="112" y="17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54"/>
                  </a:lnTo>
                  <a:lnTo>
                    <a:pt x="116" y="142"/>
                  </a:lnTo>
                  <a:lnTo>
                    <a:pt x="120" y="132"/>
                  </a:lnTo>
                  <a:lnTo>
                    <a:pt x="128" y="122"/>
                  </a:lnTo>
                  <a:lnTo>
                    <a:pt x="136" y="114"/>
                  </a:lnTo>
                  <a:lnTo>
                    <a:pt x="146" y="106"/>
                  </a:lnTo>
                  <a:lnTo>
                    <a:pt x="156" y="102"/>
                  </a:lnTo>
                  <a:lnTo>
                    <a:pt x="168" y="9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2" y="80"/>
                  </a:lnTo>
                  <a:lnTo>
                    <a:pt x="154" y="74"/>
                  </a:lnTo>
                  <a:lnTo>
                    <a:pt x="146" y="70"/>
                  </a:lnTo>
                  <a:lnTo>
                    <a:pt x="138" y="68"/>
                  </a:lnTo>
                  <a:lnTo>
                    <a:pt x="110" y="68"/>
                  </a:lnTo>
                  <a:lnTo>
                    <a:pt x="90" y="102"/>
                  </a:lnTo>
                  <a:lnTo>
                    <a:pt x="72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36" y="70"/>
                  </a:lnTo>
                  <a:lnTo>
                    <a:pt x="28" y="74"/>
                  </a:lnTo>
                  <a:lnTo>
                    <a:pt x="20" y="8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90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0" y="196"/>
                  </a:lnTo>
                  <a:lnTo>
                    <a:pt x="2" y="202"/>
                  </a:lnTo>
                  <a:lnTo>
                    <a:pt x="6" y="206"/>
                  </a:lnTo>
                  <a:lnTo>
                    <a:pt x="12" y="208"/>
                  </a:lnTo>
                  <a:lnTo>
                    <a:pt x="12" y="208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20" y="208"/>
                  </a:lnTo>
                  <a:lnTo>
                    <a:pt x="24" y="204"/>
                  </a:lnTo>
                  <a:lnTo>
                    <a:pt x="28" y="200"/>
                  </a:lnTo>
                  <a:lnTo>
                    <a:pt x="30" y="196"/>
                  </a:lnTo>
                  <a:lnTo>
                    <a:pt x="30" y="196"/>
                  </a:lnTo>
                  <a:close/>
                  <a:moveTo>
                    <a:pt x="180" y="118"/>
                  </a:moveTo>
                  <a:lnTo>
                    <a:pt x="180" y="118"/>
                  </a:lnTo>
                  <a:lnTo>
                    <a:pt x="170" y="118"/>
                  </a:lnTo>
                  <a:lnTo>
                    <a:pt x="162" y="120"/>
                  </a:lnTo>
                  <a:lnTo>
                    <a:pt x="152" y="126"/>
                  </a:lnTo>
                  <a:lnTo>
                    <a:pt x="146" y="132"/>
                  </a:lnTo>
                  <a:lnTo>
                    <a:pt x="140" y="138"/>
                  </a:lnTo>
                  <a:lnTo>
                    <a:pt x="136" y="146"/>
                  </a:lnTo>
                  <a:lnTo>
                    <a:pt x="132" y="156"/>
                  </a:lnTo>
                  <a:lnTo>
                    <a:pt x="132" y="166"/>
                  </a:lnTo>
                  <a:lnTo>
                    <a:pt x="132" y="166"/>
                  </a:lnTo>
                  <a:lnTo>
                    <a:pt x="132" y="176"/>
                  </a:lnTo>
                  <a:lnTo>
                    <a:pt x="136" y="184"/>
                  </a:lnTo>
                  <a:lnTo>
                    <a:pt x="140" y="194"/>
                  </a:lnTo>
                  <a:lnTo>
                    <a:pt x="146" y="200"/>
                  </a:lnTo>
                  <a:lnTo>
                    <a:pt x="152" y="206"/>
                  </a:lnTo>
                  <a:lnTo>
                    <a:pt x="162" y="210"/>
                  </a:lnTo>
                  <a:lnTo>
                    <a:pt x="170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90" y="214"/>
                  </a:lnTo>
                  <a:lnTo>
                    <a:pt x="200" y="210"/>
                  </a:lnTo>
                  <a:lnTo>
                    <a:pt x="208" y="206"/>
                  </a:lnTo>
                  <a:lnTo>
                    <a:pt x="214" y="200"/>
                  </a:lnTo>
                  <a:lnTo>
                    <a:pt x="220" y="194"/>
                  </a:lnTo>
                  <a:lnTo>
                    <a:pt x="224" y="184"/>
                  </a:lnTo>
                  <a:lnTo>
                    <a:pt x="228" y="176"/>
                  </a:lnTo>
                  <a:lnTo>
                    <a:pt x="228" y="166"/>
                  </a:lnTo>
                  <a:lnTo>
                    <a:pt x="228" y="166"/>
                  </a:lnTo>
                  <a:lnTo>
                    <a:pt x="228" y="156"/>
                  </a:lnTo>
                  <a:lnTo>
                    <a:pt x="224" y="146"/>
                  </a:lnTo>
                  <a:lnTo>
                    <a:pt x="220" y="138"/>
                  </a:lnTo>
                  <a:lnTo>
                    <a:pt x="214" y="132"/>
                  </a:lnTo>
                  <a:lnTo>
                    <a:pt x="208" y="126"/>
                  </a:lnTo>
                  <a:lnTo>
                    <a:pt x="200" y="120"/>
                  </a:lnTo>
                  <a:lnTo>
                    <a:pt x="190" y="118"/>
                  </a:lnTo>
                  <a:lnTo>
                    <a:pt x="180" y="118"/>
                  </a:lnTo>
                  <a:close/>
                  <a:moveTo>
                    <a:pt x="296" y="260"/>
                  </a:moveTo>
                  <a:lnTo>
                    <a:pt x="296" y="260"/>
                  </a:lnTo>
                  <a:lnTo>
                    <a:pt x="294" y="258"/>
                  </a:lnTo>
                  <a:lnTo>
                    <a:pt x="294" y="258"/>
                  </a:lnTo>
                  <a:lnTo>
                    <a:pt x="292" y="252"/>
                  </a:lnTo>
                  <a:lnTo>
                    <a:pt x="288" y="246"/>
                  </a:lnTo>
                  <a:lnTo>
                    <a:pt x="278" y="236"/>
                  </a:lnTo>
                  <a:lnTo>
                    <a:pt x="266" y="230"/>
                  </a:lnTo>
                  <a:lnTo>
                    <a:pt x="250" y="228"/>
                  </a:lnTo>
                  <a:lnTo>
                    <a:pt x="210" y="228"/>
                  </a:lnTo>
                  <a:lnTo>
                    <a:pt x="180" y="278"/>
                  </a:lnTo>
                  <a:lnTo>
                    <a:pt x="150" y="228"/>
                  </a:lnTo>
                  <a:lnTo>
                    <a:pt x="110" y="228"/>
                  </a:lnTo>
                  <a:lnTo>
                    <a:pt x="110" y="228"/>
                  </a:lnTo>
                  <a:lnTo>
                    <a:pt x="94" y="230"/>
                  </a:lnTo>
                  <a:lnTo>
                    <a:pt x="82" y="236"/>
                  </a:lnTo>
                  <a:lnTo>
                    <a:pt x="72" y="246"/>
                  </a:lnTo>
                  <a:lnTo>
                    <a:pt x="68" y="252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4" y="260"/>
                  </a:lnTo>
                  <a:lnTo>
                    <a:pt x="52" y="336"/>
                  </a:lnTo>
                  <a:lnTo>
                    <a:pt x="52" y="336"/>
                  </a:lnTo>
                  <a:lnTo>
                    <a:pt x="72" y="352"/>
                  </a:lnTo>
                  <a:lnTo>
                    <a:pt x="96" y="362"/>
                  </a:lnTo>
                  <a:lnTo>
                    <a:pt x="106" y="304"/>
                  </a:lnTo>
                  <a:lnTo>
                    <a:pt x="118" y="304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30" y="374"/>
                  </a:lnTo>
                  <a:lnTo>
                    <a:pt x="146" y="378"/>
                  </a:lnTo>
                  <a:lnTo>
                    <a:pt x="16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96" y="380"/>
                  </a:lnTo>
                  <a:lnTo>
                    <a:pt x="214" y="378"/>
                  </a:lnTo>
                  <a:lnTo>
                    <a:pt x="230" y="374"/>
                  </a:lnTo>
                  <a:lnTo>
                    <a:pt x="246" y="370"/>
                  </a:lnTo>
                  <a:lnTo>
                    <a:pt x="242" y="304"/>
                  </a:lnTo>
                  <a:lnTo>
                    <a:pt x="254" y="304"/>
                  </a:lnTo>
                  <a:lnTo>
                    <a:pt x="264" y="362"/>
                  </a:lnTo>
                  <a:lnTo>
                    <a:pt x="264" y="362"/>
                  </a:lnTo>
                  <a:lnTo>
                    <a:pt x="288" y="350"/>
                  </a:lnTo>
                  <a:lnTo>
                    <a:pt x="308" y="336"/>
                  </a:lnTo>
                  <a:lnTo>
                    <a:pt x="296" y="260"/>
                  </a:lnTo>
                  <a:close/>
                </a:path>
              </a:pathLst>
            </a:custGeom>
            <a:grpFill/>
            <a:ln w="9525">
              <a:solidFill>
                <a:srgbClr val="406D6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961">
            <a:extLst>
              <a:ext uri="{FF2B5EF4-FFF2-40B4-BE49-F238E27FC236}">
                <a16:creationId xmlns:a16="http://schemas.microsoft.com/office/drawing/2014/main" id="{4A77FFF9-0783-6733-D494-E70C84351F60}"/>
              </a:ext>
            </a:extLst>
          </p:cNvPr>
          <p:cNvGrpSpPr/>
          <p:nvPr/>
        </p:nvGrpSpPr>
        <p:grpSpPr>
          <a:xfrm>
            <a:off x="296326" y="2469522"/>
            <a:ext cx="612000" cy="612000"/>
            <a:chOff x="1467520" y="2258092"/>
            <a:chExt cx="612000" cy="612000"/>
          </a:xfrm>
          <a:noFill/>
        </p:grpSpPr>
        <p:sp>
          <p:nvSpPr>
            <p:cNvPr id="59" name="Oval 305">
              <a:extLst>
                <a:ext uri="{FF2B5EF4-FFF2-40B4-BE49-F238E27FC236}">
                  <a16:creationId xmlns:a16="http://schemas.microsoft.com/office/drawing/2014/main" id="{AD0954BC-8D41-A744-9321-D4DE3E98132D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grpFill/>
            <a:ln w="3175">
              <a:solidFill>
                <a:srgbClr val="406D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0" name="Freeform 4949">
              <a:extLst>
                <a:ext uri="{FF2B5EF4-FFF2-40B4-BE49-F238E27FC236}">
                  <a16:creationId xmlns:a16="http://schemas.microsoft.com/office/drawing/2014/main" id="{07D286DF-73FC-606A-CCCF-1F7E4C9E8B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74769" y="2337737"/>
              <a:ext cx="397503" cy="421594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grpFill/>
            <a:ln w="9525">
              <a:solidFill>
                <a:srgbClr val="406D6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4" name="Oval 139">
            <a:extLst>
              <a:ext uri="{FF2B5EF4-FFF2-40B4-BE49-F238E27FC236}">
                <a16:creationId xmlns:a16="http://schemas.microsoft.com/office/drawing/2014/main" id="{1CF5E74C-888A-5D3F-C124-FB66E0877F46}"/>
              </a:ext>
            </a:extLst>
          </p:cNvPr>
          <p:cNvSpPr/>
          <p:nvPr/>
        </p:nvSpPr>
        <p:spPr bwMode="ltGray">
          <a:xfrm>
            <a:off x="6560840" y="4324205"/>
            <a:ext cx="612000" cy="612000"/>
          </a:xfrm>
          <a:prstGeom prst="ellipse">
            <a:avLst/>
          </a:prstGeom>
          <a:noFill/>
          <a:ln w="3175" cap="flat" cmpd="sng" algn="ctr">
            <a:solidFill>
              <a:srgbClr val="406D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67" name="Oval 139">
            <a:extLst>
              <a:ext uri="{FF2B5EF4-FFF2-40B4-BE49-F238E27FC236}">
                <a16:creationId xmlns:a16="http://schemas.microsoft.com/office/drawing/2014/main" id="{E7ED68D8-4841-FEB7-CA24-13FF7A1D7639}"/>
              </a:ext>
            </a:extLst>
          </p:cNvPr>
          <p:cNvSpPr/>
          <p:nvPr/>
        </p:nvSpPr>
        <p:spPr bwMode="ltGray">
          <a:xfrm>
            <a:off x="6564120" y="5167186"/>
            <a:ext cx="612000" cy="612000"/>
          </a:xfrm>
          <a:prstGeom prst="ellipse">
            <a:avLst/>
          </a:prstGeom>
          <a:noFill/>
          <a:ln w="3175" cap="flat" cmpd="sng" algn="ctr">
            <a:solidFill>
              <a:srgbClr val="406D6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grpSp>
        <p:nvGrpSpPr>
          <p:cNvPr id="68" name="Group 6306">
            <a:extLst>
              <a:ext uri="{FF2B5EF4-FFF2-40B4-BE49-F238E27FC236}">
                <a16:creationId xmlns:a16="http://schemas.microsoft.com/office/drawing/2014/main" id="{C9DA1C3E-DEA8-B528-CFE8-091ED2FD3878}"/>
              </a:ext>
            </a:extLst>
          </p:cNvPr>
          <p:cNvGrpSpPr/>
          <p:nvPr/>
        </p:nvGrpSpPr>
        <p:grpSpPr>
          <a:xfrm>
            <a:off x="6568895" y="2946878"/>
            <a:ext cx="612000" cy="612000"/>
            <a:chOff x="4966372" y="4690710"/>
            <a:chExt cx="612000" cy="612000"/>
          </a:xfrm>
          <a:noFill/>
        </p:grpSpPr>
        <p:sp>
          <p:nvSpPr>
            <p:cNvPr id="69" name="Oval 135">
              <a:extLst>
                <a:ext uri="{FF2B5EF4-FFF2-40B4-BE49-F238E27FC236}">
                  <a16:creationId xmlns:a16="http://schemas.microsoft.com/office/drawing/2014/main" id="{9BE19915-D55A-CD7B-70F7-AB698B654CB8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grpFill/>
            <a:ln w="3175">
              <a:solidFill>
                <a:srgbClr val="406D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0" name="Freeform 4828">
              <a:extLst>
                <a:ext uri="{FF2B5EF4-FFF2-40B4-BE49-F238E27FC236}">
                  <a16:creationId xmlns:a16="http://schemas.microsoft.com/office/drawing/2014/main" id="{B4DC2DFE-EF31-13BD-E6D3-BFD4B1B30D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7225" y="4814903"/>
              <a:ext cx="490295" cy="294177"/>
            </a:xfrm>
            <a:custGeom>
              <a:avLst/>
              <a:gdLst>
                <a:gd name="T0" fmla="*/ 162 w 400"/>
                <a:gd name="T1" fmla="*/ 136 h 240"/>
                <a:gd name="T2" fmla="*/ 156 w 400"/>
                <a:gd name="T3" fmla="*/ 130 h 240"/>
                <a:gd name="T4" fmla="*/ 148 w 400"/>
                <a:gd name="T5" fmla="*/ 126 h 240"/>
                <a:gd name="T6" fmla="*/ 46 w 400"/>
                <a:gd name="T7" fmla="*/ 126 h 240"/>
                <a:gd name="T8" fmla="*/ 36 w 400"/>
                <a:gd name="T9" fmla="*/ 130 h 240"/>
                <a:gd name="T10" fmla="*/ 30 w 400"/>
                <a:gd name="T11" fmla="*/ 136 h 240"/>
                <a:gd name="T12" fmla="*/ 0 w 400"/>
                <a:gd name="T13" fmla="*/ 218 h 240"/>
                <a:gd name="T14" fmla="*/ 2 w 400"/>
                <a:gd name="T15" fmla="*/ 232 h 240"/>
                <a:gd name="T16" fmla="*/ 8 w 400"/>
                <a:gd name="T17" fmla="*/ 238 h 240"/>
                <a:gd name="T18" fmla="*/ 178 w 400"/>
                <a:gd name="T19" fmla="*/ 240 h 240"/>
                <a:gd name="T20" fmla="*/ 184 w 400"/>
                <a:gd name="T21" fmla="*/ 238 h 240"/>
                <a:gd name="T22" fmla="*/ 190 w 400"/>
                <a:gd name="T23" fmla="*/ 232 h 240"/>
                <a:gd name="T24" fmla="*/ 192 w 400"/>
                <a:gd name="T25" fmla="*/ 218 h 240"/>
                <a:gd name="T26" fmla="*/ 150 w 400"/>
                <a:gd name="T27" fmla="*/ 198 h 240"/>
                <a:gd name="T28" fmla="*/ 62 w 400"/>
                <a:gd name="T29" fmla="*/ 158 h 240"/>
                <a:gd name="T30" fmla="*/ 148 w 400"/>
                <a:gd name="T31" fmla="*/ 142 h 240"/>
                <a:gd name="T32" fmla="*/ 150 w 400"/>
                <a:gd name="T33" fmla="*/ 198 h 240"/>
                <a:gd name="T34" fmla="*/ 370 w 400"/>
                <a:gd name="T35" fmla="*/ 136 h 240"/>
                <a:gd name="T36" fmla="*/ 366 w 400"/>
                <a:gd name="T37" fmla="*/ 132 h 240"/>
                <a:gd name="T38" fmla="*/ 358 w 400"/>
                <a:gd name="T39" fmla="*/ 126 h 240"/>
                <a:gd name="T40" fmla="*/ 252 w 400"/>
                <a:gd name="T41" fmla="*/ 126 h 240"/>
                <a:gd name="T42" fmla="*/ 248 w 400"/>
                <a:gd name="T43" fmla="*/ 126 h 240"/>
                <a:gd name="T44" fmla="*/ 240 w 400"/>
                <a:gd name="T45" fmla="*/ 132 h 240"/>
                <a:gd name="T46" fmla="*/ 208 w 400"/>
                <a:gd name="T47" fmla="*/ 218 h 240"/>
                <a:gd name="T48" fmla="*/ 206 w 400"/>
                <a:gd name="T49" fmla="*/ 226 h 240"/>
                <a:gd name="T50" fmla="*/ 210 w 400"/>
                <a:gd name="T51" fmla="*/ 232 h 240"/>
                <a:gd name="T52" fmla="*/ 222 w 400"/>
                <a:gd name="T53" fmla="*/ 240 h 240"/>
                <a:gd name="T54" fmla="*/ 384 w 400"/>
                <a:gd name="T55" fmla="*/ 240 h 240"/>
                <a:gd name="T56" fmla="*/ 398 w 400"/>
                <a:gd name="T57" fmla="*/ 232 h 240"/>
                <a:gd name="T58" fmla="*/ 400 w 400"/>
                <a:gd name="T59" fmla="*/ 226 h 240"/>
                <a:gd name="T60" fmla="*/ 400 w 400"/>
                <a:gd name="T61" fmla="*/ 218 h 240"/>
                <a:gd name="T62" fmla="*/ 344 w 400"/>
                <a:gd name="T63" fmla="*/ 158 h 240"/>
                <a:gd name="T64" fmla="*/ 254 w 400"/>
                <a:gd name="T65" fmla="*/ 142 h 240"/>
                <a:gd name="T66" fmla="*/ 374 w 400"/>
                <a:gd name="T67" fmla="*/ 198 h 240"/>
                <a:gd name="T68" fmla="*/ 118 w 400"/>
                <a:gd name="T69" fmla="*/ 114 h 240"/>
                <a:gd name="T70" fmla="*/ 280 w 400"/>
                <a:gd name="T71" fmla="*/ 114 h 240"/>
                <a:gd name="T72" fmla="*/ 294 w 400"/>
                <a:gd name="T73" fmla="*/ 106 h 240"/>
                <a:gd name="T74" fmla="*/ 296 w 400"/>
                <a:gd name="T75" fmla="*/ 100 h 240"/>
                <a:gd name="T76" fmla="*/ 266 w 400"/>
                <a:gd name="T77" fmla="*/ 10 h 240"/>
                <a:gd name="T78" fmla="*/ 264 w 400"/>
                <a:gd name="T79" fmla="*/ 6 h 240"/>
                <a:gd name="T80" fmla="*/ 256 w 400"/>
                <a:gd name="T81" fmla="*/ 0 h 240"/>
                <a:gd name="T82" fmla="*/ 150 w 400"/>
                <a:gd name="T83" fmla="*/ 0 h 240"/>
                <a:gd name="T84" fmla="*/ 144 w 400"/>
                <a:gd name="T85" fmla="*/ 0 h 240"/>
                <a:gd name="T86" fmla="*/ 136 w 400"/>
                <a:gd name="T87" fmla="*/ 6 h 240"/>
                <a:gd name="T88" fmla="*/ 104 w 400"/>
                <a:gd name="T89" fmla="*/ 92 h 240"/>
                <a:gd name="T90" fmla="*/ 104 w 400"/>
                <a:gd name="T91" fmla="*/ 100 h 240"/>
                <a:gd name="T92" fmla="*/ 106 w 400"/>
                <a:gd name="T93" fmla="*/ 106 h 240"/>
                <a:gd name="T94" fmla="*/ 118 w 400"/>
                <a:gd name="T95" fmla="*/ 114 h 240"/>
                <a:gd name="T96" fmla="*/ 250 w 400"/>
                <a:gd name="T97" fmla="*/ 16 h 240"/>
                <a:gd name="T98" fmla="*/ 254 w 400"/>
                <a:gd name="T99" fmla="*/ 72 h 240"/>
                <a:gd name="T100" fmla="*/ 166 w 400"/>
                <a:gd name="T101" fmla="*/ 32 h 240"/>
                <a:gd name="T102" fmla="*/ 250 w 400"/>
                <a:gd name="T103" fmla="*/ 1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0" h="240">
                  <a:moveTo>
                    <a:pt x="162" y="136"/>
                  </a:moveTo>
                  <a:lnTo>
                    <a:pt x="162" y="136"/>
                  </a:lnTo>
                  <a:lnTo>
                    <a:pt x="160" y="132"/>
                  </a:lnTo>
                  <a:lnTo>
                    <a:pt x="156" y="130"/>
                  </a:lnTo>
                  <a:lnTo>
                    <a:pt x="152" y="126"/>
                  </a:lnTo>
                  <a:lnTo>
                    <a:pt x="148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2" y="126"/>
                  </a:lnTo>
                  <a:lnTo>
                    <a:pt x="36" y="130"/>
                  </a:lnTo>
                  <a:lnTo>
                    <a:pt x="34" y="132"/>
                  </a:lnTo>
                  <a:lnTo>
                    <a:pt x="30" y="136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26"/>
                  </a:lnTo>
                  <a:lnTo>
                    <a:pt x="2" y="232"/>
                  </a:lnTo>
                  <a:lnTo>
                    <a:pt x="2" y="232"/>
                  </a:lnTo>
                  <a:lnTo>
                    <a:pt x="8" y="238"/>
                  </a:lnTo>
                  <a:lnTo>
                    <a:pt x="16" y="240"/>
                  </a:lnTo>
                  <a:lnTo>
                    <a:pt x="178" y="240"/>
                  </a:lnTo>
                  <a:lnTo>
                    <a:pt x="178" y="240"/>
                  </a:lnTo>
                  <a:lnTo>
                    <a:pt x="184" y="238"/>
                  </a:lnTo>
                  <a:lnTo>
                    <a:pt x="190" y="232"/>
                  </a:lnTo>
                  <a:lnTo>
                    <a:pt x="190" y="232"/>
                  </a:lnTo>
                  <a:lnTo>
                    <a:pt x="194" y="226"/>
                  </a:lnTo>
                  <a:lnTo>
                    <a:pt x="192" y="218"/>
                  </a:lnTo>
                  <a:lnTo>
                    <a:pt x="162" y="136"/>
                  </a:lnTo>
                  <a:close/>
                  <a:moveTo>
                    <a:pt x="150" y="198"/>
                  </a:moveTo>
                  <a:lnTo>
                    <a:pt x="136" y="158"/>
                  </a:lnTo>
                  <a:lnTo>
                    <a:pt x="62" y="158"/>
                  </a:lnTo>
                  <a:lnTo>
                    <a:pt x="46" y="142"/>
                  </a:lnTo>
                  <a:lnTo>
                    <a:pt x="148" y="142"/>
                  </a:lnTo>
                  <a:lnTo>
                    <a:pt x="168" y="198"/>
                  </a:lnTo>
                  <a:lnTo>
                    <a:pt x="150" y="198"/>
                  </a:lnTo>
                  <a:close/>
                  <a:moveTo>
                    <a:pt x="400" y="218"/>
                  </a:moveTo>
                  <a:lnTo>
                    <a:pt x="370" y="136"/>
                  </a:lnTo>
                  <a:lnTo>
                    <a:pt x="370" y="136"/>
                  </a:lnTo>
                  <a:lnTo>
                    <a:pt x="366" y="132"/>
                  </a:lnTo>
                  <a:lnTo>
                    <a:pt x="364" y="130"/>
                  </a:lnTo>
                  <a:lnTo>
                    <a:pt x="358" y="126"/>
                  </a:lnTo>
                  <a:lnTo>
                    <a:pt x="354" y="126"/>
                  </a:lnTo>
                  <a:lnTo>
                    <a:pt x="252" y="126"/>
                  </a:lnTo>
                  <a:lnTo>
                    <a:pt x="252" y="126"/>
                  </a:lnTo>
                  <a:lnTo>
                    <a:pt x="248" y="126"/>
                  </a:lnTo>
                  <a:lnTo>
                    <a:pt x="244" y="130"/>
                  </a:lnTo>
                  <a:lnTo>
                    <a:pt x="240" y="132"/>
                  </a:lnTo>
                  <a:lnTo>
                    <a:pt x="238" y="136"/>
                  </a:lnTo>
                  <a:lnTo>
                    <a:pt x="208" y="218"/>
                  </a:lnTo>
                  <a:lnTo>
                    <a:pt x="208" y="218"/>
                  </a:lnTo>
                  <a:lnTo>
                    <a:pt x="206" y="226"/>
                  </a:lnTo>
                  <a:lnTo>
                    <a:pt x="210" y="232"/>
                  </a:lnTo>
                  <a:lnTo>
                    <a:pt x="210" y="232"/>
                  </a:lnTo>
                  <a:lnTo>
                    <a:pt x="216" y="238"/>
                  </a:lnTo>
                  <a:lnTo>
                    <a:pt x="222" y="240"/>
                  </a:lnTo>
                  <a:lnTo>
                    <a:pt x="384" y="240"/>
                  </a:lnTo>
                  <a:lnTo>
                    <a:pt x="384" y="240"/>
                  </a:lnTo>
                  <a:lnTo>
                    <a:pt x="392" y="238"/>
                  </a:lnTo>
                  <a:lnTo>
                    <a:pt x="398" y="232"/>
                  </a:lnTo>
                  <a:lnTo>
                    <a:pt x="398" y="232"/>
                  </a:lnTo>
                  <a:lnTo>
                    <a:pt x="400" y="226"/>
                  </a:lnTo>
                  <a:lnTo>
                    <a:pt x="400" y="218"/>
                  </a:lnTo>
                  <a:lnTo>
                    <a:pt x="400" y="218"/>
                  </a:lnTo>
                  <a:close/>
                  <a:moveTo>
                    <a:pt x="358" y="198"/>
                  </a:moveTo>
                  <a:lnTo>
                    <a:pt x="344" y="158"/>
                  </a:lnTo>
                  <a:lnTo>
                    <a:pt x="268" y="158"/>
                  </a:lnTo>
                  <a:lnTo>
                    <a:pt x="254" y="142"/>
                  </a:lnTo>
                  <a:lnTo>
                    <a:pt x="354" y="142"/>
                  </a:lnTo>
                  <a:lnTo>
                    <a:pt x="374" y="198"/>
                  </a:lnTo>
                  <a:lnTo>
                    <a:pt x="358" y="198"/>
                  </a:lnTo>
                  <a:close/>
                  <a:moveTo>
                    <a:pt x="118" y="114"/>
                  </a:moveTo>
                  <a:lnTo>
                    <a:pt x="280" y="114"/>
                  </a:lnTo>
                  <a:lnTo>
                    <a:pt x="280" y="114"/>
                  </a:lnTo>
                  <a:lnTo>
                    <a:pt x="288" y="112"/>
                  </a:lnTo>
                  <a:lnTo>
                    <a:pt x="294" y="106"/>
                  </a:lnTo>
                  <a:lnTo>
                    <a:pt x="294" y="106"/>
                  </a:lnTo>
                  <a:lnTo>
                    <a:pt x="296" y="100"/>
                  </a:lnTo>
                  <a:lnTo>
                    <a:pt x="296" y="92"/>
                  </a:lnTo>
                  <a:lnTo>
                    <a:pt x="266" y="10"/>
                  </a:lnTo>
                  <a:lnTo>
                    <a:pt x="266" y="10"/>
                  </a:lnTo>
                  <a:lnTo>
                    <a:pt x="264" y="6"/>
                  </a:lnTo>
                  <a:lnTo>
                    <a:pt x="260" y="4"/>
                  </a:lnTo>
                  <a:lnTo>
                    <a:pt x="256" y="0"/>
                  </a:lnTo>
                  <a:lnTo>
                    <a:pt x="250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0" y="4"/>
                  </a:lnTo>
                  <a:lnTo>
                    <a:pt x="136" y="6"/>
                  </a:lnTo>
                  <a:lnTo>
                    <a:pt x="134" y="10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100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12" y="112"/>
                  </a:lnTo>
                  <a:lnTo>
                    <a:pt x="118" y="114"/>
                  </a:lnTo>
                  <a:lnTo>
                    <a:pt x="118" y="114"/>
                  </a:lnTo>
                  <a:close/>
                  <a:moveTo>
                    <a:pt x="250" y="16"/>
                  </a:moveTo>
                  <a:lnTo>
                    <a:pt x="272" y="72"/>
                  </a:lnTo>
                  <a:lnTo>
                    <a:pt x="254" y="72"/>
                  </a:lnTo>
                  <a:lnTo>
                    <a:pt x="240" y="32"/>
                  </a:lnTo>
                  <a:lnTo>
                    <a:pt x="166" y="32"/>
                  </a:lnTo>
                  <a:lnTo>
                    <a:pt x="150" y="16"/>
                  </a:lnTo>
                  <a:lnTo>
                    <a:pt x="250" y="16"/>
                  </a:lnTo>
                  <a:close/>
                </a:path>
              </a:pathLst>
            </a:custGeom>
            <a:grpFill/>
            <a:ln>
              <a:solidFill>
                <a:srgbClr val="406D69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1" name="Group 1059">
            <a:extLst>
              <a:ext uri="{FF2B5EF4-FFF2-40B4-BE49-F238E27FC236}">
                <a16:creationId xmlns:a16="http://schemas.microsoft.com/office/drawing/2014/main" id="{DC8296F5-EE69-CF60-0FCB-5E4A453DDD01}"/>
              </a:ext>
            </a:extLst>
          </p:cNvPr>
          <p:cNvGrpSpPr/>
          <p:nvPr/>
        </p:nvGrpSpPr>
        <p:grpSpPr>
          <a:xfrm>
            <a:off x="6568895" y="2288474"/>
            <a:ext cx="612000" cy="612000"/>
            <a:chOff x="7573215" y="5907019"/>
            <a:chExt cx="612000" cy="612000"/>
          </a:xfrm>
          <a:noFill/>
        </p:grpSpPr>
        <p:sp>
          <p:nvSpPr>
            <p:cNvPr id="72" name="Oval 344">
              <a:extLst>
                <a:ext uri="{FF2B5EF4-FFF2-40B4-BE49-F238E27FC236}">
                  <a16:creationId xmlns:a16="http://schemas.microsoft.com/office/drawing/2014/main" id="{B396CA27-11CC-7445-96C2-56D5A8F2EB87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grpFill/>
            <a:ln w="3175">
              <a:solidFill>
                <a:srgbClr val="406D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3" name="Freeform 4997">
              <a:extLst>
                <a:ext uri="{FF2B5EF4-FFF2-40B4-BE49-F238E27FC236}">
                  <a16:creationId xmlns:a16="http://schemas.microsoft.com/office/drawing/2014/main" id="{976A7F2E-E478-9046-A904-AB3395D1B4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350" y="5997175"/>
              <a:ext cx="457731" cy="448094"/>
            </a:xfrm>
            <a:custGeom>
              <a:avLst/>
              <a:gdLst>
                <a:gd name="T0" fmla="*/ 378 w 380"/>
                <a:gd name="T1" fmla="*/ 230 h 372"/>
                <a:gd name="T2" fmla="*/ 208 w 380"/>
                <a:gd name="T3" fmla="*/ 366 h 372"/>
                <a:gd name="T4" fmla="*/ 190 w 380"/>
                <a:gd name="T5" fmla="*/ 372 h 372"/>
                <a:gd name="T6" fmla="*/ 14 w 380"/>
                <a:gd name="T7" fmla="*/ 246 h 372"/>
                <a:gd name="T8" fmla="*/ 2 w 380"/>
                <a:gd name="T9" fmla="*/ 224 h 372"/>
                <a:gd name="T10" fmla="*/ 10 w 380"/>
                <a:gd name="T11" fmla="*/ 200 h 372"/>
                <a:gd name="T12" fmla="*/ 190 w 380"/>
                <a:gd name="T13" fmla="*/ 328 h 372"/>
                <a:gd name="T14" fmla="*/ 370 w 380"/>
                <a:gd name="T15" fmla="*/ 200 h 372"/>
                <a:gd name="T16" fmla="*/ 378 w 380"/>
                <a:gd name="T17" fmla="*/ 190 h 372"/>
                <a:gd name="T18" fmla="*/ 116 w 380"/>
                <a:gd name="T19" fmla="*/ 146 h 372"/>
                <a:gd name="T20" fmla="*/ 94 w 380"/>
                <a:gd name="T21" fmla="*/ 140 h 372"/>
                <a:gd name="T22" fmla="*/ 92 w 380"/>
                <a:gd name="T23" fmla="*/ 148 h 372"/>
                <a:gd name="T24" fmla="*/ 104 w 380"/>
                <a:gd name="T25" fmla="*/ 172 h 372"/>
                <a:gd name="T26" fmla="*/ 118 w 380"/>
                <a:gd name="T27" fmla="*/ 186 h 372"/>
                <a:gd name="T28" fmla="*/ 130 w 380"/>
                <a:gd name="T29" fmla="*/ 192 h 372"/>
                <a:gd name="T30" fmla="*/ 138 w 380"/>
                <a:gd name="T31" fmla="*/ 190 h 372"/>
                <a:gd name="T32" fmla="*/ 142 w 380"/>
                <a:gd name="T33" fmla="*/ 176 h 372"/>
                <a:gd name="T34" fmla="*/ 130 w 380"/>
                <a:gd name="T35" fmla="*/ 158 h 372"/>
                <a:gd name="T36" fmla="*/ 376 w 380"/>
                <a:gd name="T37" fmla="*/ 164 h 372"/>
                <a:gd name="T38" fmla="*/ 208 w 380"/>
                <a:gd name="T39" fmla="*/ 294 h 372"/>
                <a:gd name="T40" fmla="*/ 180 w 380"/>
                <a:gd name="T41" fmla="*/ 300 h 372"/>
                <a:gd name="T42" fmla="*/ 8 w 380"/>
                <a:gd name="T43" fmla="*/ 170 h 372"/>
                <a:gd name="T44" fmla="*/ 0 w 380"/>
                <a:gd name="T45" fmla="*/ 150 h 372"/>
                <a:gd name="T46" fmla="*/ 12 w 380"/>
                <a:gd name="T47" fmla="*/ 126 h 372"/>
                <a:gd name="T48" fmla="*/ 190 w 380"/>
                <a:gd name="T49" fmla="*/ 0 h 372"/>
                <a:gd name="T50" fmla="*/ 368 w 380"/>
                <a:gd name="T51" fmla="*/ 126 h 372"/>
                <a:gd name="T52" fmla="*/ 380 w 380"/>
                <a:gd name="T53" fmla="*/ 150 h 372"/>
                <a:gd name="T54" fmla="*/ 162 w 380"/>
                <a:gd name="T55" fmla="*/ 156 h 372"/>
                <a:gd name="T56" fmla="*/ 142 w 380"/>
                <a:gd name="T57" fmla="*/ 132 h 372"/>
                <a:gd name="T58" fmla="*/ 116 w 380"/>
                <a:gd name="T59" fmla="*/ 122 h 372"/>
                <a:gd name="T60" fmla="*/ 100 w 380"/>
                <a:gd name="T61" fmla="*/ 124 h 372"/>
                <a:gd name="T62" fmla="*/ 76 w 380"/>
                <a:gd name="T63" fmla="*/ 146 h 372"/>
                <a:gd name="T64" fmla="*/ 72 w 380"/>
                <a:gd name="T65" fmla="*/ 164 h 372"/>
                <a:gd name="T66" fmla="*/ 84 w 380"/>
                <a:gd name="T67" fmla="*/ 190 h 372"/>
                <a:gd name="T68" fmla="*/ 114 w 380"/>
                <a:gd name="T69" fmla="*/ 208 h 372"/>
                <a:gd name="T70" fmla="*/ 142 w 380"/>
                <a:gd name="T71" fmla="*/ 202 h 372"/>
                <a:gd name="T72" fmla="*/ 154 w 380"/>
                <a:gd name="T73" fmla="*/ 190 h 372"/>
                <a:gd name="T74" fmla="*/ 164 w 380"/>
                <a:gd name="T75" fmla="*/ 166 h 372"/>
                <a:gd name="T76" fmla="*/ 190 w 380"/>
                <a:gd name="T77" fmla="*/ 64 h 372"/>
                <a:gd name="T78" fmla="*/ 186 w 380"/>
                <a:gd name="T79" fmla="*/ 62 h 372"/>
                <a:gd name="T80" fmla="*/ 168 w 380"/>
                <a:gd name="T81" fmla="*/ 76 h 372"/>
                <a:gd name="T82" fmla="*/ 190 w 380"/>
                <a:gd name="T83" fmla="*/ 238 h 372"/>
                <a:gd name="T84" fmla="*/ 212 w 380"/>
                <a:gd name="T85" fmla="*/ 226 h 372"/>
                <a:gd name="T86" fmla="*/ 308 w 380"/>
                <a:gd name="T87" fmla="*/ 136 h 372"/>
                <a:gd name="T88" fmla="*/ 302 w 380"/>
                <a:gd name="T89" fmla="*/ 118 h 372"/>
                <a:gd name="T90" fmla="*/ 274 w 380"/>
                <a:gd name="T91" fmla="*/ 94 h 372"/>
                <a:gd name="T92" fmla="*/ 250 w 380"/>
                <a:gd name="T93" fmla="*/ 92 h 372"/>
                <a:gd name="T94" fmla="*/ 234 w 380"/>
                <a:gd name="T95" fmla="*/ 102 h 372"/>
                <a:gd name="T96" fmla="*/ 218 w 380"/>
                <a:gd name="T97" fmla="*/ 126 h 372"/>
                <a:gd name="T98" fmla="*/ 222 w 380"/>
                <a:gd name="T99" fmla="*/ 152 h 372"/>
                <a:gd name="T100" fmla="*/ 238 w 380"/>
                <a:gd name="T101" fmla="*/ 168 h 372"/>
                <a:gd name="T102" fmla="*/ 264 w 380"/>
                <a:gd name="T103" fmla="*/ 178 h 372"/>
                <a:gd name="T104" fmla="*/ 292 w 380"/>
                <a:gd name="T105" fmla="*/ 168 h 372"/>
                <a:gd name="T106" fmla="*/ 304 w 380"/>
                <a:gd name="T107" fmla="*/ 152 h 372"/>
                <a:gd name="T108" fmla="*/ 282 w 380"/>
                <a:gd name="T109" fmla="*/ 136 h 372"/>
                <a:gd name="T110" fmla="*/ 268 w 380"/>
                <a:gd name="T111" fmla="*/ 122 h 372"/>
                <a:gd name="T112" fmla="*/ 254 w 380"/>
                <a:gd name="T113" fmla="*/ 110 h 372"/>
                <a:gd name="T114" fmla="*/ 240 w 380"/>
                <a:gd name="T115" fmla="*/ 110 h 372"/>
                <a:gd name="T116" fmla="*/ 238 w 380"/>
                <a:gd name="T117" fmla="*/ 124 h 372"/>
                <a:gd name="T118" fmla="*/ 248 w 380"/>
                <a:gd name="T119" fmla="*/ 142 h 372"/>
                <a:gd name="T120" fmla="*/ 274 w 380"/>
                <a:gd name="T121" fmla="*/ 162 h 372"/>
                <a:gd name="T122" fmla="*/ 284 w 380"/>
                <a:gd name="T123" fmla="*/ 160 h 372"/>
                <a:gd name="T124" fmla="*/ 286 w 380"/>
                <a:gd name="T125" fmla="*/ 144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0" h="372">
                  <a:moveTo>
                    <a:pt x="378" y="190"/>
                  </a:moveTo>
                  <a:lnTo>
                    <a:pt x="378" y="224"/>
                  </a:lnTo>
                  <a:lnTo>
                    <a:pt x="378" y="224"/>
                  </a:lnTo>
                  <a:lnTo>
                    <a:pt x="378" y="230"/>
                  </a:lnTo>
                  <a:lnTo>
                    <a:pt x="376" y="236"/>
                  </a:lnTo>
                  <a:lnTo>
                    <a:pt x="372" y="242"/>
                  </a:lnTo>
                  <a:lnTo>
                    <a:pt x="366" y="246"/>
                  </a:lnTo>
                  <a:lnTo>
                    <a:pt x="208" y="366"/>
                  </a:lnTo>
                  <a:lnTo>
                    <a:pt x="208" y="366"/>
                  </a:lnTo>
                  <a:lnTo>
                    <a:pt x="198" y="372"/>
                  </a:lnTo>
                  <a:lnTo>
                    <a:pt x="190" y="372"/>
                  </a:lnTo>
                  <a:lnTo>
                    <a:pt x="190" y="372"/>
                  </a:lnTo>
                  <a:lnTo>
                    <a:pt x="182" y="372"/>
                  </a:lnTo>
                  <a:lnTo>
                    <a:pt x="172" y="366"/>
                  </a:lnTo>
                  <a:lnTo>
                    <a:pt x="14" y="246"/>
                  </a:lnTo>
                  <a:lnTo>
                    <a:pt x="14" y="246"/>
                  </a:lnTo>
                  <a:lnTo>
                    <a:pt x="8" y="242"/>
                  </a:lnTo>
                  <a:lnTo>
                    <a:pt x="4" y="236"/>
                  </a:lnTo>
                  <a:lnTo>
                    <a:pt x="2" y="230"/>
                  </a:lnTo>
                  <a:lnTo>
                    <a:pt x="2" y="224"/>
                  </a:lnTo>
                  <a:lnTo>
                    <a:pt x="2" y="190"/>
                  </a:lnTo>
                  <a:lnTo>
                    <a:pt x="2" y="190"/>
                  </a:lnTo>
                  <a:lnTo>
                    <a:pt x="6" y="194"/>
                  </a:lnTo>
                  <a:lnTo>
                    <a:pt x="10" y="200"/>
                  </a:lnTo>
                  <a:lnTo>
                    <a:pt x="172" y="322"/>
                  </a:lnTo>
                  <a:lnTo>
                    <a:pt x="172" y="322"/>
                  </a:lnTo>
                  <a:lnTo>
                    <a:pt x="180" y="326"/>
                  </a:lnTo>
                  <a:lnTo>
                    <a:pt x="190" y="328"/>
                  </a:lnTo>
                  <a:lnTo>
                    <a:pt x="190" y="328"/>
                  </a:lnTo>
                  <a:lnTo>
                    <a:pt x="200" y="326"/>
                  </a:lnTo>
                  <a:lnTo>
                    <a:pt x="208" y="322"/>
                  </a:lnTo>
                  <a:lnTo>
                    <a:pt x="370" y="200"/>
                  </a:lnTo>
                  <a:lnTo>
                    <a:pt x="370" y="200"/>
                  </a:lnTo>
                  <a:lnTo>
                    <a:pt x="374" y="194"/>
                  </a:lnTo>
                  <a:lnTo>
                    <a:pt x="378" y="190"/>
                  </a:lnTo>
                  <a:lnTo>
                    <a:pt x="378" y="190"/>
                  </a:lnTo>
                  <a:close/>
                  <a:moveTo>
                    <a:pt x="130" y="158"/>
                  </a:moveTo>
                  <a:lnTo>
                    <a:pt x="130" y="158"/>
                  </a:lnTo>
                  <a:lnTo>
                    <a:pt x="116" y="146"/>
                  </a:lnTo>
                  <a:lnTo>
                    <a:pt x="116" y="146"/>
                  </a:lnTo>
                  <a:lnTo>
                    <a:pt x="110" y="140"/>
                  </a:lnTo>
                  <a:lnTo>
                    <a:pt x="104" y="138"/>
                  </a:lnTo>
                  <a:lnTo>
                    <a:pt x="100" y="138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2" y="144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54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6" y="176"/>
                  </a:lnTo>
                  <a:lnTo>
                    <a:pt x="106" y="176"/>
                  </a:lnTo>
                  <a:lnTo>
                    <a:pt x="118" y="186"/>
                  </a:lnTo>
                  <a:lnTo>
                    <a:pt x="118" y="186"/>
                  </a:lnTo>
                  <a:lnTo>
                    <a:pt x="126" y="190"/>
                  </a:lnTo>
                  <a:lnTo>
                    <a:pt x="126" y="190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4" y="192"/>
                  </a:lnTo>
                  <a:lnTo>
                    <a:pt x="138" y="190"/>
                  </a:lnTo>
                  <a:lnTo>
                    <a:pt x="138" y="190"/>
                  </a:lnTo>
                  <a:lnTo>
                    <a:pt x="142" y="186"/>
                  </a:lnTo>
                  <a:lnTo>
                    <a:pt x="142" y="182"/>
                  </a:lnTo>
                  <a:lnTo>
                    <a:pt x="142" y="182"/>
                  </a:lnTo>
                  <a:lnTo>
                    <a:pt x="142" y="176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30" y="158"/>
                  </a:lnTo>
                  <a:lnTo>
                    <a:pt x="130" y="158"/>
                  </a:lnTo>
                  <a:close/>
                  <a:moveTo>
                    <a:pt x="380" y="150"/>
                  </a:moveTo>
                  <a:lnTo>
                    <a:pt x="380" y="150"/>
                  </a:lnTo>
                  <a:lnTo>
                    <a:pt x="378" y="158"/>
                  </a:lnTo>
                  <a:lnTo>
                    <a:pt x="376" y="164"/>
                  </a:lnTo>
                  <a:lnTo>
                    <a:pt x="372" y="170"/>
                  </a:lnTo>
                  <a:lnTo>
                    <a:pt x="368" y="174"/>
                  </a:lnTo>
                  <a:lnTo>
                    <a:pt x="208" y="294"/>
                  </a:lnTo>
                  <a:lnTo>
                    <a:pt x="208" y="294"/>
                  </a:lnTo>
                  <a:lnTo>
                    <a:pt x="200" y="300"/>
                  </a:lnTo>
                  <a:lnTo>
                    <a:pt x="190" y="300"/>
                  </a:lnTo>
                  <a:lnTo>
                    <a:pt x="190" y="300"/>
                  </a:lnTo>
                  <a:lnTo>
                    <a:pt x="180" y="300"/>
                  </a:lnTo>
                  <a:lnTo>
                    <a:pt x="172" y="294"/>
                  </a:lnTo>
                  <a:lnTo>
                    <a:pt x="12" y="174"/>
                  </a:lnTo>
                  <a:lnTo>
                    <a:pt x="12" y="174"/>
                  </a:lnTo>
                  <a:lnTo>
                    <a:pt x="8" y="170"/>
                  </a:lnTo>
                  <a:lnTo>
                    <a:pt x="4" y="164"/>
                  </a:lnTo>
                  <a:lnTo>
                    <a:pt x="2" y="158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44"/>
                  </a:lnTo>
                  <a:lnTo>
                    <a:pt x="4" y="136"/>
                  </a:lnTo>
                  <a:lnTo>
                    <a:pt x="8" y="130"/>
                  </a:lnTo>
                  <a:lnTo>
                    <a:pt x="12" y="126"/>
                  </a:lnTo>
                  <a:lnTo>
                    <a:pt x="172" y="6"/>
                  </a:lnTo>
                  <a:lnTo>
                    <a:pt x="172" y="6"/>
                  </a:lnTo>
                  <a:lnTo>
                    <a:pt x="180" y="2"/>
                  </a:lnTo>
                  <a:lnTo>
                    <a:pt x="190" y="0"/>
                  </a:lnTo>
                  <a:lnTo>
                    <a:pt x="200" y="2"/>
                  </a:lnTo>
                  <a:lnTo>
                    <a:pt x="208" y="6"/>
                  </a:lnTo>
                  <a:lnTo>
                    <a:pt x="368" y="126"/>
                  </a:lnTo>
                  <a:lnTo>
                    <a:pt x="368" y="126"/>
                  </a:lnTo>
                  <a:lnTo>
                    <a:pt x="372" y="130"/>
                  </a:lnTo>
                  <a:lnTo>
                    <a:pt x="376" y="136"/>
                  </a:lnTo>
                  <a:lnTo>
                    <a:pt x="378" y="144"/>
                  </a:lnTo>
                  <a:lnTo>
                    <a:pt x="380" y="150"/>
                  </a:lnTo>
                  <a:lnTo>
                    <a:pt x="380" y="150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2" y="156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2" y="140"/>
                  </a:lnTo>
                  <a:lnTo>
                    <a:pt x="142" y="132"/>
                  </a:lnTo>
                  <a:lnTo>
                    <a:pt x="142" y="132"/>
                  </a:lnTo>
                  <a:lnTo>
                    <a:pt x="130" y="124"/>
                  </a:lnTo>
                  <a:lnTo>
                    <a:pt x="122" y="122"/>
                  </a:lnTo>
                  <a:lnTo>
                    <a:pt x="116" y="122"/>
                  </a:lnTo>
                  <a:lnTo>
                    <a:pt x="116" y="122"/>
                  </a:lnTo>
                  <a:lnTo>
                    <a:pt x="112" y="122"/>
                  </a:lnTo>
                  <a:lnTo>
                    <a:pt x="112" y="122"/>
                  </a:lnTo>
                  <a:lnTo>
                    <a:pt x="100" y="124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0" y="138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2" y="156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4" y="174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84" y="190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106" y="206"/>
                  </a:lnTo>
                  <a:lnTo>
                    <a:pt x="114" y="208"/>
                  </a:lnTo>
                  <a:lnTo>
                    <a:pt x="120" y="208"/>
                  </a:lnTo>
                  <a:lnTo>
                    <a:pt x="120" y="208"/>
                  </a:lnTo>
                  <a:lnTo>
                    <a:pt x="132" y="206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8" y="198"/>
                  </a:lnTo>
                  <a:lnTo>
                    <a:pt x="148" y="198"/>
                  </a:lnTo>
                  <a:lnTo>
                    <a:pt x="154" y="190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2" y="174"/>
                  </a:ln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212" y="224"/>
                  </a:moveTo>
                  <a:lnTo>
                    <a:pt x="190" y="64"/>
                  </a:lnTo>
                  <a:lnTo>
                    <a:pt x="190" y="64"/>
                  </a:lnTo>
                  <a:lnTo>
                    <a:pt x="188" y="62"/>
                  </a:lnTo>
                  <a:lnTo>
                    <a:pt x="188" y="62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4" y="62"/>
                  </a:lnTo>
                  <a:lnTo>
                    <a:pt x="168" y="74"/>
                  </a:lnTo>
                  <a:lnTo>
                    <a:pt x="168" y="74"/>
                  </a:lnTo>
                  <a:lnTo>
                    <a:pt x="168" y="76"/>
                  </a:lnTo>
                  <a:lnTo>
                    <a:pt x="188" y="236"/>
                  </a:lnTo>
                  <a:lnTo>
                    <a:pt x="188" y="236"/>
                  </a:lnTo>
                  <a:lnTo>
                    <a:pt x="190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2" y="238"/>
                  </a:lnTo>
                  <a:lnTo>
                    <a:pt x="196" y="238"/>
                  </a:lnTo>
                  <a:lnTo>
                    <a:pt x="212" y="226"/>
                  </a:lnTo>
                  <a:lnTo>
                    <a:pt x="212" y="226"/>
                  </a:lnTo>
                  <a:lnTo>
                    <a:pt x="212" y="224"/>
                  </a:lnTo>
                  <a:lnTo>
                    <a:pt x="212" y="224"/>
                  </a:lnTo>
                  <a:close/>
                  <a:moveTo>
                    <a:pt x="308" y="136"/>
                  </a:moveTo>
                  <a:lnTo>
                    <a:pt x="308" y="136"/>
                  </a:lnTo>
                  <a:lnTo>
                    <a:pt x="306" y="126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296" y="110"/>
                  </a:lnTo>
                  <a:lnTo>
                    <a:pt x="288" y="102"/>
                  </a:lnTo>
                  <a:lnTo>
                    <a:pt x="288" y="102"/>
                  </a:lnTo>
                  <a:lnTo>
                    <a:pt x="274" y="94"/>
                  </a:lnTo>
                  <a:lnTo>
                    <a:pt x="268" y="92"/>
                  </a:lnTo>
                  <a:lnTo>
                    <a:pt x="260" y="92"/>
                  </a:lnTo>
                  <a:lnTo>
                    <a:pt x="260" y="92"/>
                  </a:lnTo>
                  <a:lnTo>
                    <a:pt x="250" y="92"/>
                  </a:lnTo>
                  <a:lnTo>
                    <a:pt x="238" y="98"/>
                  </a:lnTo>
                  <a:lnTo>
                    <a:pt x="238" y="98"/>
                  </a:lnTo>
                  <a:lnTo>
                    <a:pt x="234" y="102"/>
                  </a:lnTo>
                  <a:lnTo>
                    <a:pt x="234" y="102"/>
                  </a:lnTo>
                  <a:lnTo>
                    <a:pt x="226" y="108"/>
                  </a:lnTo>
                  <a:lnTo>
                    <a:pt x="220" y="116"/>
                  </a:lnTo>
                  <a:lnTo>
                    <a:pt x="220" y="116"/>
                  </a:lnTo>
                  <a:lnTo>
                    <a:pt x="218" y="126"/>
                  </a:lnTo>
                  <a:lnTo>
                    <a:pt x="218" y="134"/>
                  </a:lnTo>
                  <a:lnTo>
                    <a:pt x="218" y="134"/>
                  </a:lnTo>
                  <a:lnTo>
                    <a:pt x="218" y="144"/>
                  </a:lnTo>
                  <a:lnTo>
                    <a:pt x="222" y="152"/>
                  </a:lnTo>
                  <a:lnTo>
                    <a:pt x="222" y="152"/>
                  </a:lnTo>
                  <a:lnTo>
                    <a:pt x="230" y="160"/>
                  </a:lnTo>
                  <a:lnTo>
                    <a:pt x="238" y="168"/>
                  </a:lnTo>
                  <a:lnTo>
                    <a:pt x="238" y="168"/>
                  </a:lnTo>
                  <a:lnTo>
                    <a:pt x="252" y="176"/>
                  </a:lnTo>
                  <a:lnTo>
                    <a:pt x="258" y="178"/>
                  </a:lnTo>
                  <a:lnTo>
                    <a:pt x="264" y="178"/>
                  </a:lnTo>
                  <a:lnTo>
                    <a:pt x="264" y="178"/>
                  </a:lnTo>
                  <a:lnTo>
                    <a:pt x="268" y="178"/>
                  </a:lnTo>
                  <a:lnTo>
                    <a:pt x="268" y="178"/>
                  </a:lnTo>
                  <a:lnTo>
                    <a:pt x="280" y="176"/>
                  </a:lnTo>
                  <a:lnTo>
                    <a:pt x="292" y="168"/>
                  </a:lnTo>
                  <a:lnTo>
                    <a:pt x="292" y="168"/>
                  </a:lnTo>
                  <a:lnTo>
                    <a:pt x="300" y="160"/>
                  </a:lnTo>
                  <a:lnTo>
                    <a:pt x="304" y="152"/>
                  </a:lnTo>
                  <a:lnTo>
                    <a:pt x="304" y="152"/>
                  </a:lnTo>
                  <a:lnTo>
                    <a:pt x="308" y="144"/>
                  </a:lnTo>
                  <a:lnTo>
                    <a:pt x="308" y="136"/>
                  </a:lnTo>
                  <a:lnTo>
                    <a:pt x="308" y="136"/>
                  </a:lnTo>
                  <a:close/>
                  <a:moveTo>
                    <a:pt x="282" y="136"/>
                  </a:moveTo>
                  <a:lnTo>
                    <a:pt x="282" y="136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68" y="122"/>
                  </a:lnTo>
                  <a:lnTo>
                    <a:pt x="268" y="122"/>
                  </a:lnTo>
                  <a:lnTo>
                    <a:pt x="262" y="116"/>
                  </a:lnTo>
                  <a:lnTo>
                    <a:pt x="262" y="116"/>
                  </a:lnTo>
                  <a:lnTo>
                    <a:pt x="254" y="110"/>
                  </a:lnTo>
                  <a:lnTo>
                    <a:pt x="248" y="108"/>
                  </a:lnTo>
                  <a:lnTo>
                    <a:pt x="244" y="108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14"/>
                  </a:lnTo>
                  <a:lnTo>
                    <a:pt x="236" y="118"/>
                  </a:lnTo>
                  <a:lnTo>
                    <a:pt x="236" y="118"/>
                  </a:lnTo>
                  <a:lnTo>
                    <a:pt x="238" y="124"/>
                  </a:lnTo>
                  <a:lnTo>
                    <a:pt x="240" y="130"/>
                  </a:lnTo>
                  <a:lnTo>
                    <a:pt x="240" y="130"/>
                  </a:lnTo>
                  <a:lnTo>
                    <a:pt x="248" y="142"/>
                  </a:lnTo>
                  <a:lnTo>
                    <a:pt x="248" y="142"/>
                  </a:lnTo>
                  <a:lnTo>
                    <a:pt x="262" y="156"/>
                  </a:lnTo>
                  <a:lnTo>
                    <a:pt x="262" y="156"/>
                  </a:lnTo>
                  <a:lnTo>
                    <a:pt x="270" y="160"/>
                  </a:lnTo>
                  <a:lnTo>
                    <a:pt x="274" y="162"/>
                  </a:lnTo>
                  <a:lnTo>
                    <a:pt x="274" y="162"/>
                  </a:lnTo>
                  <a:lnTo>
                    <a:pt x="280" y="162"/>
                  </a:lnTo>
                  <a:lnTo>
                    <a:pt x="284" y="160"/>
                  </a:lnTo>
                  <a:lnTo>
                    <a:pt x="284" y="160"/>
                  </a:lnTo>
                  <a:lnTo>
                    <a:pt x="286" y="158"/>
                  </a:lnTo>
                  <a:lnTo>
                    <a:pt x="288" y="154"/>
                  </a:lnTo>
                  <a:lnTo>
                    <a:pt x="288" y="150"/>
                  </a:lnTo>
                  <a:lnTo>
                    <a:pt x="286" y="144"/>
                  </a:lnTo>
                  <a:lnTo>
                    <a:pt x="286" y="144"/>
                  </a:lnTo>
                  <a:lnTo>
                    <a:pt x="282" y="136"/>
                  </a:lnTo>
                  <a:lnTo>
                    <a:pt x="282" y="136"/>
                  </a:lnTo>
                  <a:close/>
                </a:path>
              </a:pathLst>
            </a:custGeom>
            <a:grpFill/>
            <a:ln w="9525">
              <a:solidFill>
                <a:srgbClr val="406D6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Group 6315">
            <a:extLst>
              <a:ext uri="{FF2B5EF4-FFF2-40B4-BE49-F238E27FC236}">
                <a16:creationId xmlns:a16="http://schemas.microsoft.com/office/drawing/2014/main" id="{1C6B06B2-5F31-5B1F-1870-0DBFC7F8A902}"/>
              </a:ext>
            </a:extLst>
          </p:cNvPr>
          <p:cNvGrpSpPr/>
          <p:nvPr/>
        </p:nvGrpSpPr>
        <p:grpSpPr>
          <a:xfrm>
            <a:off x="6563457" y="3593863"/>
            <a:ext cx="612000" cy="612000"/>
            <a:chOff x="9617181" y="3474401"/>
            <a:chExt cx="612000" cy="612000"/>
          </a:xfrm>
          <a:noFill/>
        </p:grpSpPr>
        <p:sp>
          <p:nvSpPr>
            <p:cNvPr id="75" name="Oval 155">
              <a:extLst>
                <a:ext uri="{FF2B5EF4-FFF2-40B4-BE49-F238E27FC236}">
                  <a16:creationId xmlns:a16="http://schemas.microsoft.com/office/drawing/2014/main" id="{C032B19E-EFA3-BDC5-577F-F5F8D5D51D88}"/>
                </a:ext>
              </a:extLst>
            </p:cNvPr>
            <p:cNvSpPr/>
            <p:nvPr/>
          </p:nvSpPr>
          <p:spPr bwMode="ltGray">
            <a:xfrm>
              <a:off x="9617181" y="3474401"/>
              <a:ext cx="612000" cy="612000"/>
            </a:xfrm>
            <a:prstGeom prst="ellipse">
              <a:avLst/>
            </a:prstGeom>
            <a:grpFill/>
            <a:ln w="3175">
              <a:solidFill>
                <a:srgbClr val="406D6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6" name="Freeform 4848">
              <a:extLst>
                <a:ext uri="{FF2B5EF4-FFF2-40B4-BE49-F238E27FC236}">
                  <a16:creationId xmlns:a16="http://schemas.microsoft.com/office/drawing/2014/main" id="{8ADAA72D-22D3-E966-689C-BB0536CE6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07113" y="3558784"/>
              <a:ext cx="431358" cy="382617"/>
            </a:xfrm>
            <a:custGeom>
              <a:avLst/>
              <a:gdLst>
                <a:gd name="T0" fmla="*/ 198 w 354"/>
                <a:gd name="T1" fmla="*/ 12 h 314"/>
                <a:gd name="T2" fmla="*/ 194 w 354"/>
                <a:gd name="T3" fmla="*/ 8 h 314"/>
                <a:gd name="T4" fmla="*/ 184 w 354"/>
                <a:gd name="T5" fmla="*/ 0 h 314"/>
                <a:gd name="T6" fmla="*/ 178 w 354"/>
                <a:gd name="T7" fmla="*/ 0 h 314"/>
                <a:gd name="T8" fmla="*/ 166 w 354"/>
                <a:gd name="T9" fmla="*/ 4 h 314"/>
                <a:gd name="T10" fmla="*/ 158 w 354"/>
                <a:gd name="T11" fmla="*/ 12 h 314"/>
                <a:gd name="T12" fmla="*/ 4 w 354"/>
                <a:gd name="T13" fmla="*/ 278 h 314"/>
                <a:gd name="T14" fmla="*/ 0 w 354"/>
                <a:gd name="T15" fmla="*/ 290 h 314"/>
                <a:gd name="T16" fmla="*/ 4 w 354"/>
                <a:gd name="T17" fmla="*/ 302 h 314"/>
                <a:gd name="T18" fmla="*/ 8 w 354"/>
                <a:gd name="T19" fmla="*/ 306 h 314"/>
                <a:gd name="T20" fmla="*/ 18 w 354"/>
                <a:gd name="T21" fmla="*/ 312 h 314"/>
                <a:gd name="T22" fmla="*/ 330 w 354"/>
                <a:gd name="T23" fmla="*/ 314 h 314"/>
                <a:gd name="T24" fmla="*/ 338 w 354"/>
                <a:gd name="T25" fmla="*/ 312 h 314"/>
                <a:gd name="T26" fmla="*/ 348 w 354"/>
                <a:gd name="T27" fmla="*/ 306 h 314"/>
                <a:gd name="T28" fmla="*/ 352 w 354"/>
                <a:gd name="T29" fmla="*/ 302 h 314"/>
                <a:gd name="T30" fmla="*/ 354 w 354"/>
                <a:gd name="T31" fmla="*/ 290 h 314"/>
                <a:gd name="T32" fmla="*/ 352 w 354"/>
                <a:gd name="T33" fmla="*/ 278 h 314"/>
                <a:gd name="T34" fmla="*/ 42 w 354"/>
                <a:gd name="T35" fmla="*/ 280 h 314"/>
                <a:gd name="T36" fmla="*/ 314 w 354"/>
                <a:gd name="T37" fmla="*/ 280 h 314"/>
                <a:gd name="T38" fmla="*/ 160 w 354"/>
                <a:gd name="T39" fmla="*/ 142 h 314"/>
                <a:gd name="T40" fmla="*/ 158 w 354"/>
                <a:gd name="T41" fmla="*/ 132 h 314"/>
                <a:gd name="T42" fmla="*/ 160 w 354"/>
                <a:gd name="T43" fmla="*/ 126 h 314"/>
                <a:gd name="T44" fmla="*/ 164 w 354"/>
                <a:gd name="T45" fmla="*/ 122 h 314"/>
                <a:gd name="T46" fmla="*/ 178 w 354"/>
                <a:gd name="T47" fmla="*/ 118 h 314"/>
                <a:gd name="T48" fmla="*/ 186 w 354"/>
                <a:gd name="T49" fmla="*/ 118 h 314"/>
                <a:gd name="T50" fmla="*/ 192 w 354"/>
                <a:gd name="T51" fmla="*/ 122 h 314"/>
                <a:gd name="T52" fmla="*/ 198 w 354"/>
                <a:gd name="T53" fmla="*/ 132 h 314"/>
                <a:gd name="T54" fmla="*/ 196 w 354"/>
                <a:gd name="T55" fmla="*/ 142 h 314"/>
                <a:gd name="T56" fmla="*/ 172 w 354"/>
                <a:gd name="T57" fmla="*/ 206 h 314"/>
                <a:gd name="T58" fmla="*/ 178 w 354"/>
                <a:gd name="T59" fmla="*/ 218 h 314"/>
                <a:gd name="T60" fmla="*/ 186 w 354"/>
                <a:gd name="T61" fmla="*/ 220 h 314"/>
                <a:gd name="T62" fmla="*/ 190 w 354"/>
                <a:gd name="T63" fmla="*/ 224 h 314"/>
                <a:gd name="T64" fmla="*/ 194 w 354"/>
                <a:gd name="T65" fmla="*/ 230 h 314"/>
                <a:gd name="T66" fmla="*/ 196 w 354"/>
                <a:gd name="T67" fmla="*/ 238 h 314"/>
                <a:gd name="T68" fmla="*/ 194 w 354"/>
                <a:gd name="T69" fmla="*/ 244 h 314"/>
                <a:gd name="T70" fmla="*/ 190 w 354"/>
                <a:gd name="T71" fmla="*/ 250 h 314"/>
                <a:gd name="T72" fmla="*/ 186 w 354"/>
                <a:gd name="T73" fmla="*/ 254 h 314"/>
                <a:gd name="T74" fmla="*/ 178 w 354"/>
                <a:gd name="T75" fmla="*/ 256 h 314"/>
                <a:gd name="T76" fmla="*/ 170 w 354"/>
                <a:gd name="T77" fmla="*/ 254 h 314"/>
                <a:gd name="T78" fmla="*/ 166 w 354"/>
                <a:gd name="T79" fmla="*/ 250 h 314"/>
                <a:gd name="T80" fmla="*/ 162 w 354"/>
                <a:gd name="T81" fmla="*/ 244 h 314"/>
                <a:gd name="T82" fmla="*/ 160 w 354"/>
                <a:gd name="T83" fmla="*/ 238 h 314"/>
                <a:gd name="T84" fmla="*/ 162 w 354"/>
                <a:gd name="T85" fmla="*/ 230 h 314"/>
                <a:gd name="T86" fmla="*/ 166 w 354"/>
                <a:gd name="T87" fmla="*/ 224 h 314"/>
                <a:gd name="T88" fmla="*/ 178 w 354"/>
                <a:gd name="T89" fmla="*/ 218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54" h="314">
                  <a:moveTo>
                    <a:pt x="352" y="278"/>
                  </a:moveTo>
                  <a:lnTo>
                    <a:pt x="198" y="12"/>
                  </a:lnTo>
                  <a:lnTo>
                    <a:pt x="198" y="12"/>
                  </a:lnTo>
                  <a:lnTo>
                    <a:pt x="194" y="8"/>
                  </a:lnTo>
                  <a:lnTo>
                    <a:pt x="190" y="4"/>
                  </a:lnTo>
                  <a:lnTo>
                    <a:pt x="18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2" y="0"/>
                  </a:lnTo>
                  <a:lnTo>
                    <a:pt x="166" y="4"/>
                  </a:lnTo>
                  <a:lnTo>
                    <a:pt x="162" y="8"/>
                  </a:lnTo>
                  <a:lnTo>
                    <a:pt x="158" y="12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2" y="282"/>
                  </a:lnTo>
                  <a:lnTo>
                    <a:pt x="0" y="290"/>
                  </a:lnTo>
                  <a:lnTo>
                    <a:pt x="2" y="296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8" y="306"/>
                  </a:lnTo>
                  <a:lnTo>
                    <a:pt x="12" y="310"/>
                  </a:lnTo>
                  <a:lnTo>
                    <a:pt x="18" y="312"/>
                  </a:lnTo>
                  <a:lnTo>
                    <a:pt x="26" y="314"/>
                  </a:lnTo>
                  <a:lnTo>
                    <a:pt x="330" y="314"/>
                  </a:lnTo>
                  <a:lnTo>
                    <a:pt x="330" y="314"/>
                  </a:lnTo>
                  <a:lnTo>
                    <a:pt x="338" y="312"/>
                  </a:lnTo>
                  <a:lnTo>
                    <a:pt x="342" y="310"/>
                  </a:lnTo>
                  <a:lnTo>
                    <a:pt x="348" y="306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54" y="296"/>
                  </a:lnTo>
                  <a:lnTo>
                    <a:pt x="354" y="290"/>
                  </a:lnTo>
                  <a:lnTo>
                    <a:pt x="354" y="282"/>
                  </a:lnTo>
                  <a:lnTo>
                    <a:pt x="352" y="278"/>
                  </a:lnTo>
                  <a:lnTo>
                    <a:pt x="352" y="278"/>
                  </a:lnTo>
                  <a:close/>
                  <a:moveTo>
                    <a:pt x="42" y="280"/>
                  </a:moveTo>
                  <a:lnTo>
                    <a:pt x="178" y="44"/>
                  </a:lnTo>
                  <a:lnTo>
                    <a:pt x="314" y="280"/>
                  </a:lnTo>
                  <a:lnTo>
                    <a:pt x="42" y="280"/>
                  </a:lnTo>
                  <a:close/>
                  <a:moveTo>
                    <a:pt x="160" y="142"/>
                  </a:moveTo>
                  <a:lnTo>
                    <a:pt x="160" y="142"/>
                  </a:lnTo>
                  <a:lnTo>
                    <a:pt x="158" y="132"/>
                  </a:lnTo>
                  <a:lnTo>
                    <a:pt x="158" y="132"/>
                  </a:lnTo>
                  <a:lnTo>
                    <a:pt x="160" y="126"/>
                  </a:lnTo>
                  <a:lnTo>
                    <a:pt x="164" y="122"/>
                  </a:lnTo>
                  <a:lnTo>
                    <a:pt x="164" y="122"/>
                  </a:lnTo>
                  <a:lnTo>
                    <a:pt x="170" y="118"/>
                  </a:lnTo>
                  <a:lnTo>
                    <a:pt x="178" y="118"/>
                  </a:lnTo>
                  <a:lnTo>
                    <a:pt x="178" y="118"/>
                  </a:lnTo>
                  <a:lnTo>
                    <a:pt x="186" y="118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6" y="126"/>
                  </a:lnTo>
                  <a:lnTo>
                    <a:pt x="198" y="132"/>
                  </a:lnTo>
                  <a:lnTo>
                    <a:pt x="198" y="132"/>
                  </a:lnTo>
                  <a:lnTo>
                    <a:pt x="196" y="142"/>
                  </a:lnTo>
                  <a:lnTo>
                    <a:pt x="184" y="206"/>
                  </a:lnTo>
                  <a:lnTo>
                    <a:pt x="172" y="206"/>
                  </a:lnTo>
                  <a:lnTo>
                    <a:pt x="160" y="142"/>
                  </a:lnTo>
                  <a:close/>
                  <a:moveTo>
                    <a:pt x="178" y="218"/>
                  </a:moveTo>
                  <a:lnTo>
                    <a:pt x="178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24"/>
                  </a:lnTo>
                  <a:lnTo>
                    <a:pt x="190" y="224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6" y="238"/>
                  </a:lnTo>
                  <a:lnTo>
                    <a:pt x="196" y="238"/>
                  </a:lnTo>
                  <a:lnTo>
                    <a:pt x="194" y="244"/>
                  </a:lnTo>
                  <a:lnTo>
                    <a:pt x="194" y="244"/>
                  </a:lnTo>
                  <a:lnTo>
                    <a:pt x="190" y="250"/>
                  </a:lnTo>
                  <a:lnTo>
                    <a:pt x="190" y="250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78" y="256"/>
                  </a:lnTo>
                  <a:lnTo>
                    <a:pt x="178" y="256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66" y="250"/>
                  </a:lnTo>
                  <a:lnTo>
                    <a:pt x="166" y="250"/>
                  </a:lnTo>
                  <a:lnTo>
                    <a:pt x="162" y="244"/>
                  </a:lnTo>
                  <a:lnTo>
                    <a:pt x="162" y="244"/>
                  </a:lnTo>
                  <a:lnTo>
                    <a:pt x="160" y="238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6" y="224"/>
                  </a:lnTo>
                  <a:lnTo>
                    <a:pt x="166" y="224"/>
                  </a:lnTo>
                  <a:lnTo>
                    <a:pt x="170" y="220"/>
                  </a:lnTo>
                  <a:lnTo>
                    <a:pt x="178" y="218"/>
                  </a:lnTo>
                  <a:lnTo>
                    <a:pt x="178" y="218"/>
                  </a:lnTo>
                  <a:close/>
                </a:path>
              </a:pathLst>
            </a:custGeom>
            <a:grpFill/>
            <a:ln w="9525">
              <a:solidFill>
                <a:srgbClr val="406D6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3" name="Прямая соединительная линия 28">
            <a:extLst>
              <a:ext uri="{FF2B5EF4-FFF2-40B4-BE49-F238E27FC236}">
                <a16:creationId xmlns:a16="http://schemas.microsoft.com/office/drawing/2014/main" id="{C0FF4195-CCA5-1AD0-EDA9-32E85FBD7F72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C56AEEA6-AA44-1E84-3DAE-20F80F0679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6">
            <a:extLst>
              <a:ext uri="{FF2B5EF4-FFF2-40B4-BE49-F238E27FC236}">
                <a16:creationId xmlns:a16="http://schemas.microsoft.com/office/drawing/2014/main" id="{93148D29-A8D8-B0F0-928E-6E33DFB2CC6A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5206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DF753F-DCC0-77BE-8328-E94A45E565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280" y="-3060"/>
            <a:ext cx="10363200" cy="459482"/>
          </a:xfrm>
        </p:spPr>
        <p:txBody>
          <a:bodyPr>
            <a:normAutofit/>
          </a:bodyPr>
          <a:lstStyle/>
          <a:p>
            <a:r>
              <a:rPr lang="ru-RU" sz="1800" dirty="0">
                <a:solidFill>
                  <a:schemeClr val="tx1"/>
                </a:solidFill>
                <a:latin typeface="Arial Narrow" panose="020B0606020202030204" pitchFamily="34" charset="0"/>
              </a:rPr>
              <a:t>РЕФОРМИРОВАНИЕ КРЕДИТНОЙ ДЕЯТЕЛЬНОСТИ БРК</a:t>
            </a:r>
          </a:p>
        </p:txBody>
      </p:sp>
      <p:grpSp>
        <p:nvGrpSpPr>
          <p:cNvPr id="4" name="Group 259">
            <a:extLst>
              <a:ext uri="{FF2B5EF4-FFF2-40B4-BE49-F238E27FC236}">
                <a16:creationId xmlns:a16="http://schemas.microsoft.com/office/drawing/2014/main" id="{B9B5C797-4A32-7F37-998B-846FB2009607}"/>
              </a:ext>
            </a:extLst>
          </p:cNvPr>
          <p:cNvGrpSpPr/>
          <p:nvPr/>
        </p:nvGrpSpPr>
        <p:grpSpPr>
          <a:xfrm>
            <a:off x="406869" y="775959"/>
            <a:ext cx="11449771" cy="1356897"/>
            <a:chOff x="-482156" y="1097578"/>
            <a:chExt cx="11081470" cy="1866512"/>
          </a:xfrm>
        </p:grpSpPr>
        <p:sp>
          <p:nvSpPr>
            <p:cNvPr id="5" name="Rectangle 260">
              <a:extLst>
                <a:ext uri="{FF2B5EF4-FFF2-40B4-BE49-F238E27FC236}">
                  <a16:creationId xmlns:a16="http://schemas.microsoft.com/office/drawing/2014/main" id="{05A91856-0440-34AD-9DD2-340A65D342FA}"/>
                </a:ext>
              </a:extLst>
            </p:cNvPr>
            <p:cNvSpPr/>
            <p:nvPr/>
          </p:nvSpPr>
          <p:spPr bwMode="auto">
            <a:xfrm>
              <a:off x="-426958" y="1097578"/>
              <a:ext cx="11026272" cy="186651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34290" rIns="13500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108000" defTabSz="685800">
                <a:spcBef>
                  <a:spcPts val="300"/>
                </a:spcBef>
                <a:spcAft>
                  <a:spcPts val="450"/>
                </a:spcAft>
                <a:defRPr/>
              </a:pPr>
              <a:r>
                <a:rPr lang="ru-RU" sz="1400" kern="0" dirty="0">
                  <a:latin typeface="Arial Narrow" panose="020B0606020202030204" pitchFamily="34" charset="0"/>
                  <a:ea typeface="ヒラギノ角ゴ Pro W3" pitchFamily="124" charset="-128"/>
                </a:rPr>
                <a:t>По Поручению Главы Государства озвученном на пленарном заседании Мажилиса Парламента Республики Казахстан от 11 января 2022 года, </a:t>
              </a:r>
              <a:r>
                <a:rPr lang="en-US" sz="1400" kern="0" dirty="0">
                  <a:latin typeface="Arial Narrow" panose="020B0606020202030204" pitchFamily="34" charset="0"/>
                  <a:ea typeface="ヒラギノ角ゴ Pro W3" pitchFamily="124" charset="-128"/>
                </a:rPr>
                <a:t/>
              </a:r>
              <a:br>
                <a:rPr lang="en-US" sz="1400" kern="0" dirty="0">
                  <a:latin typeface="Arial Narrow" panose="020B0606020202030204" pitchFamily="34" charset="0"/>
                  <a:ea typeface="ヒラギノ角ゴ Pro W3" pitchFamily="124" charset="-128"/>
                </a:rPr>
              </a:br>
              <a:r>
                <a:rPr lang="ru-RU" sz="1400" kern="0" dirty="0">
                  <a:latin typeface="Arial Narrow" panose="020B0606020202030204" pitchFamily="34" charset="0"/>
                  <a:ea typeface="ヒラギノ角ゴ Pro W3" pitchFamily="124" charset="-128"/>
                </a:rPr>
                <a:t>Банк провел работу по трансформации своих бизнес-процессов и кредитной политики. </a:t>
              </a:r>
            </a:p>
            <a:p>
              <a:pPr marL="108000" defTabSz="685800">
                <a:spcBef>
                  <a:spcPts val="300"/>
                </a:spcBef>
                <a:spcAft>
                  <a:spcPts val="450"/>
                </a:spcAft>
                <a:defRPr/>
              </a:pPr>
              <a:r>
                <a:rPr lang="ru-RU" sz="1400" kern="0" dirty="0">
                  <a:latin typeface="Arial Narrow" panose="020B0606020202030204" pitchFamily="34" charset="0"/>
                  <a:ea typeface="ヒラギノ角ゴ Pro W3" pitchFamily="124" charset="-128"/>
                </a:rPr>
                <a:t>В свете новых экономических реалий </a:t>
              </a:r>
              <a:r>
                <a:rPr lang="ru-RU" sz="1400" b="1" kern="0" dirty="0">
                  <a:solidFill>
                    <a:srgbClr val="406D69"/>
                  </a:solidFill>
                  <a:latin typeface="Arial Narrow" panose="020B0606020202030204" pitchFamily="34" charset="0"/>
                  <a:ea typeface="ヒラギノ角ゴ Pro W3" pitchFamily="124" charset="-128"/>
                </a:rPr>
                <a:t>БРК фокусируется на финансировании проектов по обеспечению продовольственной безопасности, импортозамещения и экспорта, логистики, производств верхнего и среднего переделов для обеспечения устойчивого роста экономики при этом увеличивая охват частного сектора</a:t>
              </a:r>
            </a:p>
          </p:txBody>
        </p:sp>
        <p:sp>
          <p:nvSpPr>
            <p:cNvPr id="6" name="Rectangle 261">
              <a:extLst>
                <a:ext uri="{FF2B5EF4-FFF2-40B4-BE49-F238E27FC236}">
                  <a16:creationId xmlns:a16="http://schemas.microsoft.com/office/drawing/2014/main" id="{315D86C9-51DE-1A32-2F56-9DFCE6638352}"/>
                </a:ext>
              </a:extLst>
            </p:cNvPr>
            <p:cNvSpPr/>
            <p:nvPr/>
          </p:nvSpPr>
          <p:spPr bwMode="auto">
            <a:xfrm>
              <a:off x="-482156" y="1120152"/>
              <a:ext cx="88476" cy="1829563"/>
            </a:xfrm>
            <a:prstGeom prst="rect">
              <a:avLst/>
            </a:prstGeom>
            <a:solidFill>
              <a:srgbClr val="AE870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34290" rIns="54000" bIns="34290" numCol="1" rtlCol="0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GB" sz="900" kern="0" baseline="30000" dirty="0">
                <a:solidFill>
                  <a:srgbClr val="000000"/>
                </a:solidFill>
                <a:latin typeface="Arial" pitchFamily="34" charset="0"/>
                <a:ea typeface="ヒラギノ角ゴ Pro W3" pitchFamily="124" charset="-128"/>
              </a:endParaRPr>
            </a:p>
          </p:txBody>
        </p:sp>
      </p:grpSp>
      <p:sp>
        <p:nvSpPr>
          <p:cNvPr id="7" name="Прямоугольник 127">
            <a:extLst>
              <a:ext uri="{FF2B5EF4-FFF2-40B4-BE49-F238E27FC236}">
                <a16:creationId xmlns:a16="http://schemas.microsoft.com/office/drawing/2014/main" id="{27B43096-A515-2ADC-0CBB-5BC08D26AB9C}"/>
              </a:ext>
            </a:extLst>
          </p:cNvPr>
          <p:cNvSpPr/>
          <p:nvPr/>
        </p:nvSpPr>
        <p:spPr>
          <a:xfrm>
            <a:off x="407368" y="3050440"/>
            <a:ext cx="5359260" cy="347490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975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ГРАНИЧЕНО УЧАСТИЕ В ПРОЕКТАХ ГЧП, КВАЗИГОССЕКТОР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 в проектах, в которых доля государства превышает 50% 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975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ШИРЕНА ЛИНЕЙКА КРЕДИТНЫХ ИНСТРУМЕНТОВ ПОДДЕРЖКИ ФРП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инвестиционный кредит, финансирование оборотного капитала и фондирование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астных лизинговых компаний</a:t>
            </a:r>
          </a:p>
          <a:p>
            <a:pPr marL="171450" indent="-171450" algn="just" eaLnBrk="0" fontAlgn="base" hangingPunct="0">
              <a:spcAft>
                <a:spcPts val="600"/>
              </a:spcAft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НИЖЕНЫ ТРЕБОВАНИЯ К ЗАЛОГОВОМУ ОБЕСПЕЧЕНИЮ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проектам с низкими кредитными рисками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для улучшения качества проектов</a:t>
            </a: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algn="just" eaLnBrk="0" fontAlgn="base" hangingPunct="0">
              <a:buClr>
                <a:srgbClr val="B4975A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КЛЮЧЕНА ВОЗМОЖНОСТЬ ИСПОЛЬЗОВАНИЯ СРЕДСТВ, ПОЛУЧЕННЫХ В РАМКАХ ГОСУДАРСТВЕННЫХ ПРОГРАММ КРУПНЫМИ СИСТЕМООБРАЗУЮЩИМИ ПРЕДПРИЯТИЯМИ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целях увеличения охвата поддержки через инструменты Банка в рамках экспортного финансирования </a:t>
            </a:r>
          </a:p>
        </p:txBody>
      </p:sp>
      <p:sp>
        <p:nvSpPr>
          <p:cNvPr id="10" name="Прямоугольник 127">
            <a:extLst>
              <a:ext uri="{FF2B5EF4-FFF2-40B4-BE49-F238E27FC236}">
                <a16:creationId xmlns:a16="http://schemas.microsoft.com/office/drawing/2014/main" id="{FA5C1235-05AB-AF04-E225-C4ACE52A346B}"/>
              </a:ext>
            </a:extLst>
          </p:cNvPr>
          <p:cNvSpPr/>
          <p:nvPr/>
        </p:nvSpPr>
        <p:spPr>
          <a:xfrm>
            <a:off x="9047246" y="3050441"/>
            <a:ext cx="2737385" cy="347490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A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крытие </a:t>
            </a:r>
            <a:r>
              <a:rPr kumimoji="0" lang="ru-RU" sz="14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рмации О конечных </a:t>
            </a:r>
            <a:r>
              <a:rPr lang="ru-RU" sz="1400" b="1" cap="all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</a:t>
            </a:r>
            <a:r>
              <a:rPr kumimoji="0" lang="ru-RU" sz="1400" b="1" i="0" u="none" strike="noStrike" kern="1200" cap="all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нефициаров</a:t>
            </a:r>
            <a:r>
              <a:rPr kumimoji="0" lang="ru-RU" sz="14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компаний-заявителей И заемщиков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7A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ЕСПЕЧЕНИЕ ИНФОРМАЦИИ НА САЙТЕ БР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перечню рассматриваемых проектов в рамках экспортных операций 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buClr>
                <a:srgbClr val="007A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УЩЕСТВЛЯЕТСЯ ДИВЕРСИФИКАЦИЯ ЗАЕМЩИКОВ БРК,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утем привлечения новых проектов, не имеющих аффилированность с действующими заемщиками БРК</a:t>
            </a:r>
          </a:p>
        </p:txBody>
      </p:sp>
      <p:sp>
        <p:nvSpPr>
          <p:cNvPr id="12" name="Прямоугольник 127">
            <a:extLst>
              <a:ext uri="{FF2B5EF4-FFF2-40B4-BE49-F238E27FC236}">
                <a16:creationId xmlns:a16="http://schemas.microsoft.com/office/drawing/2014/main" id="{613B8DA8-FA4D-1DFD-28C9-1F7F23116EB1}"/>
              </a:ext>
            </a:extLst>
          </p:cNvPr>
          <p:cNvSpPr/>
          <p:nvPr/>
        </p:nvSpPr>
        <p:spPr>
          <a:xfrm>
            <a:off x="5926417" y="3059290"/>
            <a:ext cx="2977895" cy="34660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КРАЩЕНИЕ СРОК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смотрения заявок клиентов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два раза (со 153 до 7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рабочих дней)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ДРЕНИЕ ЦИФРОВОЙ ПЛАТФОРМ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 принятию и рассмотрению кредитных заявок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пуск дистанционног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ИФРОВОГО БАНКОВСКОГО СЕРВИС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Банк-Клиент»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труктуре БРК выделен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РОНТ-БЛОК ПО КРЕДИТОВАНИЮ ЭКСПОРТА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63ED2B64-CA43-6A33-F490-7839BB2F9440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053">
            <a:extLst>
              <a:ext uri="{FF2B5EF4-FFF2-40B4-BE49-F238E27FC236}">
                <a16:creationId xmlns:a16="http://schemas.microsoft.com/office/drawing/2014/main" id="{9BDAB7D0-C733-86EA-2D13-2E635CFA2F8D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3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4193BB29-880A-801B-45CB-03B55EF65D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33" name="Прямая соединительная линия 36">
            <a:extLst>
              <a:ext uri="{FF2B5EF4-FFF2-40B4-BE49-F238E27FC236}">
                <a16:creationId xmlns:a16="http://schemas.microsoft.com/office/drawing/2014/main" id="{0D3110B4-14D3-B105-C1D8-873C39371EDF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111">
            <a:extLst>
              <a:ext uri="{FF2B5EF4-FFF2-40B4-BE49-F238E27FC236}">
                <a16:creationId xmlns:a16="http://schemas.microsoft.com/office/drawing/2014/main" id="{44205F61-925C-87B1-94FD-E3C224A9D715}"/>
              </a:ext>
            </a:extLst>
          </p:cNvPr>
          <p:cNvSpPr/>
          <p:nvPr/>
        </p:nvSpPr>
        <p:spPr>
          <a:xfrm>
            <a:off x="1564011" y="2344887"/>
            <a:ext cx="31108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ширение доступа </a:t>
            </a:r>
            <a:b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 услугам </a:t>
            </a:r>
          </a:p>
        </p:txBody>
      </p:sp>
      <p:sp>
        <p:nvSpPr>
          <p:cNvPr id="35" name="Rectangle 111">
            <a:extLst>
              <a:ext uri="{FF2B5EF4-FFF2-40B4-BE49-F238E27FC236}">
                <a16:creationId xmlns:a16="http://schemas.microsoft.com/office/drawing/2014/main" id="{05D2480D-E2CD-8BE6-FD47-7016F41AAA80}"/>
              </a:ext>
            </a:extLst>
          </p:cNvPr>
          <p:cNvSpPr/>
          <p:nvPr/>
        </p:nvSpPr>
        <p:spPr>
          <a:xfrm>
            <a:off x="9048328" y="2334512"/>
            <a:ext cx="31108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ышение </a:t>
            </a:r>
            <a:b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зрачности</a:t>
            </a:r>
          </a:p>
        </p:txBody>
      </p:sp>
      <p:sp>
        <p:nvSpPr>
          <p:cNvPr id="36" name="Rectangle 111">
            <a:extLst>
              <a:ext uri="{FF2B5EF4-FFF2-40B4-BE49-F238E27FC236}">
                <a16:creationId xmlns:a16="http://schemas.microsoft.com/office/drawing/2014/main" id="{029A6E40-45EB-5FFB-4091-D224708A1F4F}"/>
              </a:ext>
            </a:extLst>
          </p:cNvPr>
          <p:cNvSpPr/>
          <p:nvPr/>
        </p:nvSpPr>
        <p:spPr>
          <a:xfrm>
            <a:off x="6023992" y="2319831"/>
            <a:ext cx="31108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тимизация процессов кредитной деятельности</a:t>
            </a:r>
          </a:p>
        </p:txBody>
      </p:sp>
      <p:sp>
        <p:nvSpPr>
          <p:cNvPr id="37" name="Google Shape;12294;p71">
            <a:extLst>
              <a:ext uri="{FF2B5EF4-FFF2-40B4-BE49-F238E27FC236}">
                <a16:creationId xmlns:a16="http://schemas.microsoft.com/office/drawing/2014/main" id="{0C93D154-06D4-7EFD-8D0D-A90B1EDCC518}"/>
              </a:ext>
            </a:extLst>
          </p:cNvPr>
          <p:cNvSpPr/>
          <p:nvPr/>
        </p:nvSpPr>
        <p:spPr>
          <a:xfrm>
            <a:off x="1467804" y="2401528"/>
            <a:ext cx="509491" cy="472172"/>
          </a:xfrm>
          <a:custGeom>
            <a:avLst/>
            <a:gdLst/>
            <a:ahLst/>
            <a:cxnLst/>
            <a:rect l="l" t="t" r="r" b="b"/>
            <a:pathLst>
              <a:path w="12228" h="11183" extrusionOk="0">
                <a:moveTo>
                  <a:pt x="4560" y="3991"/>
                </a:moveTo>
                <a:cubicBezTo>
                  <a:pt x="4739" y="3991"/>
                  <a:pt x="4894" y="4146"/>
                  <a:pt x="4894" y="4324"/>
                </a:cubicBezTo>
                <a:cubicBezTo>
                  <a:pt x="4894" y="4503"/>
                  <a:pt x="4739" y="4646"/>
                  <a:pt x="4560" y="4646"/>
                </a:cubicBezTo>
                <a:cubicBezTo>
                  <a:pt x="4382" y="4646"/>
                  <a:pt x="4239" y="4503"/>
                  <a:pt x="4239" y="4324"/>
                </a:cubicBezTo>
                <a:cubicBezTo>
                  <a:pt x="4251" y="4134"/>
                  <a:pt x="4382" y="3991"/>
                  <a:pt x="4560" y="3991"/>
                </a:cubicBezTo>
                <a:close/>
                <a:moveTo>
                  <a:pt x="5930" y="1419"/>
                </a:moveTo>
                <a:lnTo>
                  <a:pt x="5930" y="2003"/>
                </a:lnTo>
                <a:lnTo>
                  <a:pt x="5941" y="4051"/>
                </a:lnTo>
                <a:lnTo>
                  <a:pt x="5965" y="5872"/>
                </a:lnTo>
                <a:lnTo>
                  <a:pt x="1619" y="4908"/>
                </a:lnTo>
                <a:cubicBezTo>
                  <a:pt x="1869" y="3801"/>
                  <a:pt x="2548" y="2848"/>
                  <a:pt x="3489" y="2229"/>
                </a:cubicBezTo>
                <a:lnTo>
                  <a:pt x="4275" y="3670"/>
                </a:lnTo>
                <a:cubicBezTo>
                  <a:pt x="4025" y="3777"/>
                  <a:pt x="3858" y="4027"/>
                  <a:pt x="3858" y="4313"/>
                </a:cubicBezTo>
                <a:cubicBezTo>
                  <a:pt x="3858" y="4694"/>
                  <a:pt x="4179" y="5027"/>
                  <a:pt x="4572" y="5027"/>
                </a:cubicBezTo>
                <a:cubicBezTo>
                  <a:pt x="4965" y="5027"/>
                  <a:pt x="5287" y="4705"/>
                  <a:pt x="5287" y="4313"/>
                </a:cubicBezTo>
                <a:cubicBezTo>
                  <a:pt x="5287" y="3967"/>
                  <a:pt x="5037" y="3670"/>
                  <a:pt x="4715" y="3610"/>
                </a:cubicBezTo>
                <a:lnTo>
                  <a:pt x="3846" y="2015"/>
                </a:lnTo>
                <a:cubicBezTo>
                  <a:pt x="4477" y="1657"/>
                  <a:pt x="5168" y="1455"/>
                  <a:pt x="5930" y="1419"/>
                </a:cubicBezTo>
                <a:close/>
                <a:moveTo>
                  <a:pt x="6287" y="4265"/>
                </a:moveTo>
                <a:cubicBezTo>
                  <a:pt x="7227" y="4348"/>
                  <a:pt x="7965" y="5158"/>
                  <a:pt x="7965" y="6122"/>
                </a:cubicBezTo>
                <a:cubicBezTo>
                  <a:pt x="7965" y="6491"/>
                  <a:pt x="7846" y="6872"/>
                  <a:pt x="7644" y="7170"/>
                </a:cubicBezTo>
                <a:lnTo>
                  <a:pt x="6287" y="6039"/>
                </a:lnTo>
                <a:lnTo>
                  <a:pt x="6287" y="4265"/>
                </a:lnTo>
                <a:close/>
                <a:moveTo>
                  <a:pt x="6477" y="348"/>
                </a:moveTo>
                <a:cubicBezTo>
                  <a:pt x="9501" y="526"/>
                  <a:pt x="11871" y="3039"/>
                  <a:pt x="11871" y="6063"/>
                </a:cubicBezTo>
                <a:cubicBezTo>
                  <a:pt x="11835" y="7349"/>
                  <a:pt x="11454" y="8539"/>
                  <a:pt x="10728" y="9516"/>
                </a:cubicBezTo>
                <a:cubicBezTo>
                  <a:pt x="10692" y="9563"/>
                  <a:pt x="10644" y="9575"/>
                  <a:pt x="10609" y="9575"/>
                </a:cubicBezTo>
                <a:cubicBezTo>
                  <a:pt x="10561" y="9575"/>
                  <a:pt x="10513" y="9563"/>
                  <a:pt x="10490" y="9527"/>
                </a:cubicBezTo>
                <a:lnTo>
                  <a:pt x="9537" y="8730"/>
                </a:lnTo>
                <a:cubicBezTo>
                  <a:pt x="10013" y="8123"/>
                  <a:pt x="10311" y="7384"/>
                  <a:pt x="10394" y="6610"/>
                </a:cubicBezTo>
                <a:cubicBezTo>
                  <a:pt x="10406" y="6491"/>
                  <a:pt x="10323" y="6396"/>
                  <a:pt x="10204" y="6396"/>
                </a:cubicBezTo>
                <a:cubicBezTo>
                  <a:pt x="10097" y="6396"/>
                  <a:pt x="10025" y="6468"/>
                  <a:pt x="10013" y="6551"/>
                </a:cubicBezTo>
                <a:cubicBezTo>
                  <a:pt x="9930" y="7206"/>
                  <a:pt x="9680" y="7849"/>
                  <a:pt x="9299" y="8384"/>
                </a:cubicBezTo>
                <a:cubicBezTo>
                  <a:pt x="9275" y="8396"/>
                  <a:pt x="9263" y="8432"/>
                  <a:pt x="9251" y="8444"/>
                </a:cubicBezTo>
                <a:cubicBezTo>
                  <a:pt x="9251" y="8444"/>
                  <a:pt x="9251" y="8456"/>
                  <a:pt x="9239" y="8456"/>
                </a:cubicBezTo>
                <a:lnTo>
                  <a:pt x="7954" y="7372"/>
                </a:lnTo>
                <a:cubicBezTo>
                  <a:pt x="8227" y="7003"/>
                  <a:pt x="8370" y="6539"/>
                  <a:pt x="8370" y="6075"/>
                </a:cubicBezTo>
                <a:cubicBezTo>
                  <a:pt x="8370" y="4908"/>
                  <a:pt x="7465" y="3920"/>
                  <a:pt x="6299" y="3836"/>
                </a:cubicBezTo>
                <a:lnTo>
                  <a:pt x="6287" y="2146"/>
                </a:lnTo>
                <a:lnTo>
                  <a:pt x="6418" y="2146"/>
                </a:lnTo>
                <a:cubicBezTo>
                  <a:pt x="6453" y="2146"/>
                  <a:pt x="6501" y="2146"/>
                  <a:pt x="6525" y="2169"/>
                </a:cubicBezTo>
                <a:cubicBezTo>
                  <a:pt x="8358" y="2360"/>
                  <a:pt x="9811" y="3812"/>
                  <a:pt x="10025" y="5646"/>
                </a:cubicBezTo>
                <a:cubicBezTo>
                  <a:pt x="10037" y="5753"/>
                  <a:pt x="10109" y="5813"/>
                  <a:pt x="10216" y="5813"/>
                </a:cubicBezTo>
                <a:cubicBezTo>
                  <a:pt x="10335" y="5813"/>
                  <a:pt x="10430" y="5706"/>
                  <a:pt x="10406" y="5598"/>
                </a:cubicBezTo>
                <a:cubicBezTo>
                  <a:pt x="10192" y="3503"/>
                  <a:pt x="8430" y="1848"/>
                  <a:pt x="6299" y="1765"/>
                </a:cubicBezTo>
                <a:lnTo>
                  <a:pt x="6299" y="526"/>
                </a:lnTo>
                <a:cubicBezTo>
                  <a:pt x="6299" y="479"/>
                  <a:pt x="6322" y="443"/>
                  <a:pt x="6346" y="407"/>
                </a:cubicBezTo>
                <a:cubicBezTo>
                  <a:pt x="6382" y="360"/>
                  <a:pt x="6418" y="348"/>
                  <a:pt x="6477" y="348"/>
                </a:cubicBezTo>
                <a:close/>
                <a:moveTo>
                  <a:pt x="1477" y="5277"/>
                </a:moveTo>
                <a:lnTo>
                  <a:pt x="5870" y="6241"/>
                </a:lnTo>
                <a:lnTo>
                  <a:pt x="4667" y="10575"/>
                </a:lnTo>
                <a:cubicBezTo>
                  <a:pt x="2774" y="9980"/>
                  <a:pt x="1405" y="8206"/>
                  <a:pt x="1405" y="6110"/>
                </a:cubicBezTo>
                <a:cubicBezTo>
                  <a:pt x="1405" y="5825"/>
                  <a:pt x="1441" y="5539"/>
                  <a:pt x="1477" y="5277"/>
                </a:cubicBezTo>
                <a:close/>
                <a:moveTo>
                  <a:pt x="6215" y="6468"/>
                </a:moveTo>
                <a:lnTo>
                  <a:pt x="7549" y="7599"/>
                </a:lnTo>
                <a:lnTo>
                  <a:pt x="9132" y="8920"/>
                </a:lnTo>
                <a:lnTo>
                  <a:pt x="9573" y="9289"/>
                </a:lnTo>
                <a:cubicBezTo>
                  <a:pt x="8680" y="10266"/>
                  <a:pt x="7430" y="10813"/>
                  <a:pt x="6108" y="10813"/>
                </a:cubicBezTo>
                <a:cubicBezTo>
                  <a:pt x="5739" y="10813"/>
                  <a:pt x="5382" y="10766"/>
                  <a:pt x="5037" y="10694"/>
                </a:cubicBezTo>
                <a:lnTo>
                  <a:pt x="6215" y="6468"/>
                </a:lnTo>
                <a:close/>
                <a:moveTo>
                  <a:pt x="6429" y="1"/>
                </a:moveTo>
                <a:cubicBezTo>
                  <a:pt x="6297" y="1"/>
                  <a:pt x="6159" y="59"/>
                  <a:pt x="6060" y="157"/>
                </a:cubicBezTo>
                <a:cubicBezTo>
                  <a:pt x="5953" y="264"/>
                  <a:pt x="5882" y="407"/>
                  <a:pt x="5882" y="562"/>
                </a:cubicBezTo>
                <a:lnTo>
                  <a:pt x="5882" y="1038"/>
                </a:lnTo>
                <a:cubicBezTo>
                  <a:pt x="5084" y="1062"/>
                  <a:pt x="4310" y="1288"/>
                  <a:pt x="3620" y="1669"/>
                </a:cubicBezTo>
                <a:lnTo>
                  <a:pt x="3191" y="872"/>
                </a:lnTo>
                <a:cubicBezTo>
                  <a:pt x="3155" y="812"/>
                  <a:pt x="3084" y="764"/>
                  <a:pt x="3024" y="764"/>
                </a:cubicBezTo>
                <a:lnTo>
                  <a:pt x="393" y="764"/>
                </a:lnTo>
                <a:lnTo>
                  <a:pt x="393" y="443"/>
                </a:lnTo>
                <a:cubicBezTo>
                  <a:pt x="393" y="336"/>
                  <a:pt x="298" y="241"/>
                  <a:pt x="203" y="241"/>
                </a:cubicBezTo>
                <a:cubicBezTo>
                  <a:pt x="95" y="241"/>
                  <a:pt x="0" y="336"/>
                  <a:pt x="0" y="443"/>
                </a:cubicBezTo>
                <a:lnTo>
                  <a:pt x="0" y="1467"/>
                </a:lnTo>
                <a:cubicBezTo>
                  <a:pt x="0" y="1574"/>
                  <a:pt x="95" y="1657"/>
                  <a:pt x="203" y="1657"/>
                </a:cubicBezTo>
                <a:cubicBezTo>
                  <a:pt x="298" y="1657"/>
                  <a:pt x="393" y="1562"/>
                  <a:pt x="393" y="1467"/>
                </a:cubicBezTo>
                <a:lnTo>
                  <a:pt x="393" y="1157"/>
                </a:lnTo>
                <a:lnTo>
                  <a:pt x="2917" y="1157"/>
                </a:lnTo>
                <a:lnTo>
                  <a:pt x="3310" y="1872"/>
                </a:lnTo>
                <a:cubicBezTo>
                  <a:pt x="3024" y="2062"/>
                  <a:pt x="2762" y="2277"/>
                  <a:pt x="2501" y="2527"/>
                </a:cubicBezTo>
                <a:cubicBezTo>
                  <a:pt x="1548" y="3467"/>
                  <a:pt x="1036" y="4753"/>
                  <a:pt x="1036" y="6098"/>
                </a:cubicBezTo>
                <a:cubicBezTo>
                  <a:pt x="1036" y="8885"/>
                  <a:pt x="3310" y="11182"/>
                  <a:pt x="6120" y="11182"/>
                </a:cubicBezTo>
                <a:cubicBezTo>
                  <a:pt x="7573" y="11182"/>
                  <a:pt x="8918" y="10575"/>
                  <a:pt x="9882" y="9516"/>
                </a:cubicBezTo>
                <a:lnTo>
                  <a:pt x="10240" y="9813"/>
                </a:lnTo>
                <a:cubicBezTo>
                  <a:pt x="10347" y="9908"/>
                  <a:pt x="10466" y="9944"/>
                  <a:pt x="10597" y="9944"/>
                </a:cubicBezTo>
                <a:lnTo>
                  <a:pt x="10656" y="9944"/>
                </a:lnTo>
                <a:cubicBezTo>
                  <a:pt x="10811" y="9932"/>
                  <a:pt x="10942" y="9837"/>
                  <a:pt x="11037" y="9718"/>
                </a:cubicBezTo>
                <a:cubicBezTo>
                  <a:pt x="11823" y="8670"/>
                  <a:pt x="12228" y="7420"/>
                  <a:pt x="12228" y="6098"/>
                </a:cubicBezTo>
                <a:cubicBezTo>
                  <a:pt x="12228" y="2884"/>
                  <a:pt x="9692" y="205"/>
                  <a:pt x="6465" y="2"/>
                </a:cubicBezTo>
                <a:cubicBezTo>
                  <a:pt x="6453" y="1"/>
                  <a:pt x="6441" y="1"/>
                  <a:pt x="6429" y="1"/>
                </a:cubicBezTo>
                <a:close/>
              </a:path>
            </a:pathLst>
          </a:custGeom>
          <a:solidFill>
            <a:srgbClr val="AE8705"/>
          </a:solidFill>
          <a:ln>
            <a:solidFill>
              <a:srgbClr val="B4975A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rgbClr val="B4975A"/>
              </a:solidFill>
              <a:highlight>
                <a:srgbClr val="B4975A"/>
              </a:highlight>
            </a:endParaRPr>
          </a:p>
        </p:txBody>
      </p:sp>
      <p:grpSp>
        <p:nvGrpSpPr>
          <p:cNvPr id="38" name="Google Shape;12295;p71">
            <a:extLst>
              <a:ext uri="{FF2B5EF4-FFF2-40B4-BE49-F238E27FC236}">
                <a16:creationId xmlns:a16="http://schemas.microsoft.com/office/drawing/2014/main" id="{61FA6674-1545-C920-AF3A-7B427F191690}"/>
              </a:ext>
            </a:extLst>
          </p:cNvPr>
          <p:cNvGrpSpPr/>
          <p:nvPr/>
        </p:nvGrpSpPr>
        <p:grpSpPr>
          <a:xfrm>
            <a:off x="5922123" y="2401528"/>
            <a:ext cx="461909" cy="470568"/>
            <a:chOff x="3095745" y="3805393"/>
            <a:chExt cx="352840" cy="354718"/>
          </a:xfrm>
          <a:solidFill>
            <a:srgbClr val="AE8705"/>
          </a:solidFill>
        </p:grpSpPr>
        <p:sp>
          <p:nvSpPr>
            <p:cNvPr id="39" name="Google Shape;12296;p71">
              <a:extLst>
                <a:ext uri="{FF2B5EF4-FFF2-40B4-BE49-F238E27FC236}">
                  <a16:creationId xmlns:a16="http://schemas.microsoft.com/office/drawing/2014/main" id="{03E32744-F6E5-6D93-DE7F-DCD89D40BD44}"/>
                </a:ext>
              </a:extLst>
            </p:cNvPr>
            <p:cNvSpPr/>
            <p:nvPr/>
          </p:nvSpPr>
          <p:spPr>
            <a:xfrm>
              <a:off x="3095745" y="3805393"/>
              <a:ext cx="272093" cy="271711"/>
            </a:xfrm>
            <a:custGeom>
              <a:avLst/>
              <a:gdLst/>
              <a:ahLst/>
              <a:cxnLst/>
              <a:rect l="l" t="t" r="r" b="b"/>
              <a:pathLst>
                <a:path w="8549" h="8537" extrusionOk="0">
                  <a:moveTo>
                    <a:pt x="4025" y="0"/>
                  </a:moveTo>
                  <a:cubicBezTo>
                    <a:pt x="3763" y="0"/>
                    <a:pt x="3525" y="179"/>
                    <a:pt x="3489" y="441"/>
                  </a:cubicBezTo>
                  <a:lnTo>
                    <a:pt x="3322" y="1262"/>
                  </a:lnTo>
                  <a:cubicBezTo>
                    <a:pt x="3155" y="1322"/>
                    <a:pt x="2977" y="1381"/>
                    <a:pt x="2834" y="1465"/>
                  </a:cubicBezTo>
                  <a:lnTo>
                    <a:pt x="2132" y="1012"/>
                  </a:lnTo>
                  <a:cubicBezTo>
                    <a:pt x="2036" y="947"/>
                    <a:pt x="1929" y="915"/>
                    <a:pt x="1825" y="915"/>
                  </a:cubicBezTo>
                  <a:cubicBezTo>
                    <a:pt x="1683" y="915"/>
                    <a:pt x="1544" y="974"/>
                    <a:pt x="1441" y="1084"/>
                  </a:cubicBezTo>
                  <a:lnTo>
                    <a:pt x="1084" y="1441"/>
                  </a:lnTo>
                  <a:cubicBezTo>
                    <a:pt x="905" y="1619"/>
                    <a:pt x="881" y="1917"/>
                    <a:pt x="1012" y="2119"/>
                  </a:cubicBezTo>
                  <a:lnTo>
                    <a:pt x="1477" y="2822"/>
                  </a:lnTo>
                  <a:cubicBezTo>
                    <a:pt x="1381" y="2989"/>
                    <a:pt x="1322" y="3155"/>
                    <a:pt x="1262" y="3310"/>
                  </a:cubicBezTo>
                  <a:lnTo>
                    <a:pt x="453" y="3477"/>
                  </a:lnTo>
                  <a:cubicBezTo>
                    <a:pt x="191" y="3524"/>
                    <a:pt x="0" y="3763"/>
                    <a:pt x="0" y="4013"/>
                  </a:cubicBezTo>
                  <a:lnTo>
                    <a:pt x="0" y="4525"/>
                  </a:lnTo>
                  <a:cubicBezTo>
                    <a:pt x="0" y="4775"/>
                    <a:pt x="179" y="5013"/>
                    <a:pt x="453" y="5060"/>
                  </a:cubicBezTo>
                  <a:lnTo>
                    <a:pt x="1262" y="5215"/>
                  </a:lnTo>
                  <a:cubicBezTo>
                    <a:pt x="1322" y="5382"/>
                    <a:pt x="1381" y="5560"/>
                    <a:pt x="1477" y="5715"/>
                  </a:cubicBezTo>
                  <a:lnTo>
                    <a:pt x="1012" y="6406"/>
                  </a:lnTo>
                  <a:cubicBezTo>
                    <a:pt x="869" y="6632"/>
                    <a:pt x="893" y="6918"/>
                    <a:pt x="1084" y="7096"/>
                  </a:cubicBezTo>
                  <a:lnTo>
                    <a:pt x="1441" y="7453"/>
                  </a:lnTo>
                  <a:cubicBezTo>
                    <a:pt x="1544" y="7557"/>
                    <a:pt x="1687" y="7608"/>
                    <a:pt x="1830" y="7608"/>
                  </a:cubicBezTo>
                  <a:cubicBezTo>
                    <a:pt x="1935" y="7608"/>
                    <a:pt x="2041" y="7580"/>
                    <a:pt x="2132" y="7525"/>
                  </a:cubicBezTo>
                  <a:lnTo>
                    <a:pt x="2834" y="7061"/>
                  </a:lnTo>
                  <a:cubicBezTo>
                    <a:pt x="2989" y="7156"/>
                    <a:pt x="3155" y="7215"/>
                    <a:pt x="3322" y="7275"/>
                  </a:cubicBezTo>
                  <a:lnTo>
                    <a:pt x="3489" y="8096"/>
                  </a:lnTo>
                  <a:cubicBezTo>
                    <a:pt x="3525" y="8346"/>
                    <a:pt x="3763" y="8537"/>
                    <a:pt x="4025" y="8537"/>
                  </a:cubicBezTo>
                  <a:lnTo>
                    <a:pt x="4525" y="8537"/>
                  </a:lnTo>
                  <a:cubicBezTo>
                    <a:pt x="4775" y="8537"/>
                    <a:pt x="5013" y="8358"/>
                    <a:pt x="5060" y="8096"/>
                  </a:cubicBezTo>
                  <a:lnTo>
                    <a:pt x="5227" y="7275"/>
                  </a:lnTo>
                  <a:cubicBezTo>
                    <a:pt x="5358" y="7227"/>
                    <a:pt x="5489" y="7180"/>
                    <a:pt x="5632" y="7120"/>
                  </a:cubicBezTo>
                  <a:cubicBezTo>
                    <a:pt x="5692" y="7084"/>
                    <a:pt x="5727" y="6977"/>
                    <a:pt x="5692" y="6894"/>
                  </a:cubicBezTo>
                  <a:cubicBezTo>
                    <a:pt x="5655" y="6821"/>
                    <a:pt x="5584" y="6790"/>
                    <a:pt x="5515" y="6790"/>
                  </a:cubicBezTo>
                  <a:cubicBezTo>
                    <a:pt x="5494" y="6790"/>
                    <a:pt x="5473" y="6793"/>
                    <a:pt x="5453" y="6799"/>
                  </a:cubicBezTo>
                  <a:cubicBezTo>
                    <a:pt x="5299" y="6870"/>
                    <a:pt x="5156" y="6918"/>
                    <a:pt x="5001" y="6965"/>
                  </a:cubicBezTo>
                  <a:cubicBezTo>
                    <a:pt x="4941" y="6977"/>
                    <a:pt x="4882" y="7037"/>
                    <a:pt x="4882" y="7096"/>
                  </a:cubicBezTo>
                  <a:lnTo>
                    <a:pt x="4703" y="8025"/>
                  </a:lnTo>
                  <a:cubicBezTo>
                    <a:pt x="4691" y="8108"/>
                    <a:pt x="4596" y="8180"/>
                    <a:pt x="4513" y="8180"/>
                  </a:cubicBezTo>
                  <a:lnTo>
                    <a:pt x="4001" y="8180"/>
                  </a:lnTo>
                  <a:cubicBezTo>
                    <a:pt x="3917" y="8180"/>
                    <a:pt x="3822" y="8120"/>
                    <a:pt x="3810" y="8025"/>
                  </a:cubicBezTo>
                  <a:lnTo>
                    <a:pt x="3632" y="7096"/>
                  </a:lnTo>
                  <a:cubicBezTo>
                    <a:pt x="3620" y="7037"/>
                    <a:pt x="3572" y="6977"/>
                    <a:pt x="3513" y="6965"/>
                  </a:cubicBezTo>
                  <a:cubicBezTo>
                    <a:pt x="3310" y="6906"/>
                    <a:pt x="3096" y="6811"/>
                    <a:pt x="2905" y="6703"/>
                  </a:cubicBezTo>
                  <a:cubicBezTo>
                    <a:pt x="2876" y="6691"/>
                    <a:pt x="2843" y="6686"/>
                    <a:pt x="2812" y="6686"/>
                  </a:cubicBezTo>
                  <a:cubicBezTo>
                    <a:pt x="2780" y="6686"/>
                    <a:pt x="2751" y="6691"/>
                    <a:pt x="2727" y="6703"/>
                  </a:cubicBezTo>
                  <a:lnTo>
                    <a:pt x="1941" y="7227"/>
                  </a:lnTo>
                  <a:cubicBezTo>
                    <a:pt x="1904" y="7249"/>
                    <a:pt x="1864" y="7260"/>
                    <a:pt x="1824" y="7260"/>
                  </a:cubicBezTo>
                  <a:cubicBezTo>
                    <a:pt x="1774" y="7260"/>
                    <a:pt x="1725" y="7243"/>
                    <a:pt x="1679" y="7203"/>
                  </a:cubicBezTo>
                  <a:lnTo>
                    <a:pt x="1322" y="6846"/>
                  </a:lnTo>
                  <a:cubicBezTo>
                    <a:pt x="1262" y="6787"/>
                    <a:pt x="1250" y="6680"/>
                    <a:pt x="1298" y="6584"/>
                  </a:cubicBezTo>
                  <a:lnTo>
                    <a:pt x="1822" y="5799"/>
                  </a:lnTo>
                  <a:cubicBezTo>
                    <a:pt x="1846" y="5739"/>
                    <a:pt x="1858" y="5679"/>
                    <a:pt x="1822" y="5620"/>
                  </a:cubicBezTo>
                  <a:cubicBezTo>
                    <a:pt x="1715" y="5429"/>
                    <a:pt x="1620" y="5215"/>
                    <a:pt x="1560" y="5013"/>
                  </a:cubicBezTo>
                  <a:cubicBezTo>
                    <a:pt x="1548" y="4953"/>
                    <a:pt x="1489" y="4894"/>
                    <a:pt x="1429" y="4894"/>
                  </a:cubicBezTo>
                  <a:lnTo>
                    <a:pt x="512" y="4715"/>
                  </a:lnTo>
                  <a:cubicBezTo>
                    <a:pt x="417" y="4703"/>
                    <a:pt x="346" y="4608"/>
                    <a:pt x="346" y="4525"/>
                  </a:cubicBezTo>
                  <a:lnTo>
                    <a:pt x="346" y="4013"/>
                  </a:lnTo>
                  <a:cubicBezTo>
                    <a:pt x="346" y="3929"/>
                    <a:pt x="405" y="3834"/>
                    <a:pt x="512" y="3822"/>
                  </a:cubicBezTo>
                  <a:lnTo>
                    <a:pt x="1429" y="3643"/>
                  </a:lnTo>
                  <a:cubicBezTo>
                    <a:pt x="1489" y="3632"/>
                    <a:pt x="1548" y="3584"/>
                    <a:pt x="1560" y="3524"/>
                  </a:cubicBezTo>
                  <a:cubicBezTo>
                    <a:pt x="1620" y="3322"/>
                    <a:pt x="1715" y="3108"/>
                    <a:pt x="1822" y="2917"/>
                  </a:cubicBezTo>
                  <a:cubicBezTo>
                    <a:pt x="1846" y="2858"/>
                    <a:pt x="1846" y="2786"/>
                    <a:pt x="1822" y="2739"/>
                  </a:cubicBezTo>
                  <a:lnTo>
                    <a:pt x="1298" y="1941"/>
                  </a:lnTo>
                  <a:cubicBezTo>
                    <a:pt x="1250" y="1869"/>
                    <a:pt x="1250" y="1762"/>
                    <a:pt x="1322" y="1691"/>
                  </a:cubicBezTo>
                  <a:lnTo>
                    <a:pt x="1679" y="1334"/>
                  </a:lnTo>
                  <a:cubicBezTo>
                    <a:pt x="1714" y="1299"/>
                    <a:pt x="1765" y="1280"/>
                    <a:pt x="1820" y="1280"/>
                  </a:cubicBezTo>
                  <a:cubicBezTo>
                    <a:pt x="1859" y="1280"/>
                    <a:pt x="1901" y="1290"/>
                    <a:pt x="1941" y="1310"/>
                  </a:cubicBezTo>
                  <a:lnTo>
                    <a:pt x="2727" y="1822"/>
                  </a:lnTo>
                  <a:cubicBezTo>
                    <a:pt x="2759" y="1841"/>
                    <a:pt x="2791" y="1853"/>
                    <a:pt x="2822" y="1853"/>
                  </a:cubicBezTo>
                  <a:cubicBezTo>
                    <a:pt x="2850" y="1853"/>
                    <a:pt x="2878" y="1844"/>
                    <a:pt x="2905" y="1822"/>
                  </a:cubicBezTo>
                  <a:cubicBezTo>
                    <a:pt x="3096" y="1727"/>
                    <a:pt x="3310" y="1631"/>
                    <a:pt x="3513" y="1572"/>
                  </a:cubicBezTo>
                  <a:cubicBezTo>
                    <a:pt x="3572" y="1560"/>
                    <a:pt x="3632" y="1500"/>
                    <a:pt x="3632" y="1441"/>
                  </a:cubicBezTo>
                  <a:lnTo>
                    <a:pt x="3810" y="512"/>
                  </a:lnTo>
                  <a:cubicBezTo>
                    <a:pt x="3822" y="429"/>
                    <a:pt x="3917" y="357"/>
                    <a:pt x="4001" y="357"/>
                  </a:cubicBezTo>
                  <a:lnTo>
                    <a:pt x="4513" y="357"/>
                  </a:lnTo>
                  <a:cubicBezTo>
                    <a:pt x="4596" y="357"/>
                    <a:pt x="4691" y="417"/>
                    <a:pt x="4703" y="512"/>
                  </a:cubicBezTo>
                  <a:lnTo>
                    <a:pt x="4882" y="1441"/>
                  </a:lnTo>
                  <a:cubicBezTo>
                    <a:pt x="4894" y="1500"/>
                    <a:pt x="4941" y="1560"/>
                    <a:pt x="5001" y="1572"/>
                  </a:cubicBezTo>
                  <a:cubicBezTo>
                    <a:pt x="5215" y="1631"/>
                    <a:pt x="5418" y="1727"/>
                    <a:pt x="5608" y="1822"/>
                  </a:cubicBezTo>
                  <a:cubicBezTo>
                    <a:pt x="5638" y="1840"/>
                    <a:pt x="5674" y="1849"/>
                    <a:pt x="5706" y="1849"/>
                  </a:cubicBezTo>
                  <a:cubicBezTo>
                    <a:pt x="5739" y="1849"/>
                    <a:pt x="5769" y="1840"/>
                    <a:pt x="5787" y="1822"/>
                  </a:cubicBezTo>
                  <a:lnTo>
                    <a:pt x="6584" y="1310"/>
                  </a:lnTo>
                  <a:cubicBezTo>
                    <a:pt x="6617" y="1288"/>
                    <a:pt x="6656" y="1277"/>
                    <a:pt x="6696" y="1277"/>
                  </a:cubicBezTo>
                  <a:cubicBezTo>
                    <a:pt x="6745" y="1277"/>
                    <a:pt x="6795" y="1294"/>
                    <a:pt x="6835" y="1334"/>
                  </a:cubicBezTo>
                  <a:lnTo>
                    <a:pt x="7192" y="1691"/>
                  </a:lnTo>
                  <a:cubicBezTo>
                    <a:pt x="7251" y="1750"/>
                    <a:pt x="7263" y="1858"/>
                    <a:pt x="7216" y="1941"/>
                  </a:cubicBezTo>
                  <a:lnTo>
                    <a:pt x="6704" y="2739"/>
                  </a:lnTo>
                  <a:cubicBezTo>
                    <a:pt x="6668" y="2798"/>
                    <a:pt x="6656" y="2858"/>
                    <a:pt x="6704" y="2917"/>
                  </a:cubicBezTo>
                  <a:cubicBezTo>
                    <a:pt x="6799" y="3108"/>
                    <a:pt x="6894" y="3322"/>
                    <a:pt x="6954" y="3524"/>
                  </a:cubicBezTo>
                  <a:cubicBezTo>
                    <a:pt x="6965" y="3584"/>
                    <a:pt x="7025" y="3643"/>
                    <a:pt x="7085" y="3643"/>
                  </a:cubicBezTo>
                  <a:lnTo>
                    <a:pt x="8013" y="3822"/>
                  </a:lnTo>
                  <a:cubicBezTo>
                    <a:pt x="8097" y="3834"/>
                    <a:pt x="8168" y="3929"/>
                    <a:pt x="8168" y="4013"/>
                  </a:cubicBezTo>
                  <a:lnTo>
                    <a:pt x="8168" y="4525"/>
                  </a:lnTo>
                  <a:cubicBezTo>
                    <a:pt x="8168" y="4608"/>
                    <a:pt x="8108" y="4703"/>
                    <a:pt x="8013" y="4715"/>
                  </a:cubicBezTo>
                  <a:lnTo>
                    <a:pt x="7085" y="4894"/>
                  </a:lnTo>
                  <a:cubicBezTo>
                    <a:pt x="7025" y="4906"/>
                    <a:pt x="6965" y="4953"/>
                    <a:pt x="6954" y="5013"/>
                  </a:cubicBezTo>
                  <a:cubicBezTo>
                    <a:pt x="6906" y="5156"/>
                    <a:pt x="6846" y="5322"/>
                    <a:pt x="6787" y="5477"/>
                  </a:cubicBezTo>
                  <a:cubicBezTo>
                    <a:pt x="6739" y="5560"/>
                    <a:pt x="6787" y="5668"/>
                    <a:pt x="6882" y="5715"/>
                  </a:cubicBezTo>
                  <a:cubicBezTo>
                    <a:pt x="6903" y="5724"/>
                    <a:pt x="6926" y="5729"/>
                    <a:pt x="6949" y="5729"/>
                  </a:cubicBezTo>
                  <a:cubicBezTo>
                    <a:pt x="7016" y="5729"/>
                    <a:pt x="7085" y="5691"/>
                    <a:pt x="7120" y="5620"/>
                  </a:cubicBezTo>
                  <a:cubicBezTo>
                    <a:pt x="7180" y="5489"/>
                    <a:pt x="7239" y="5358"/>
                    <a:pt x="7275" y="5215"/>
                  </a:cubicBezTo>
                  <a:lnTo>
                    <a:pt x="8097" y="5060"/>
                  </a:lnTo>
                  <a:cubicBezTo>
                    <a:pt x="8347" y="5013"/>
                    <a:pt x="8549" y="4775"/>
                    <a:pt x="8549" y="4525"/>
                  </a:cubicBezTo>
                  <a:lnTo>
                    <a:pt x="8549" y="4013"/>
                  </a:lnTo>
                  <a:cubicBezTo>
                    <a:pt x="8549" y="3763"/>
                    <a:pt x="8370" y="3524"/>
                    <a:pt x="8097" y="3477"/>
                  </a:cubicBezTo>
                  <a:lnTo>
                    <a:pt x="7275" y="3310"/>
                  </a:lnTo>
                  <a:cubicBezTo>
                    <a:pt x="7216" y="3155"/>
                    <a:pt x="7156" y="2977"/>
                    <a:pt x="7073" y="2822"/>
                  </a:cubicBezTo>
                  <a:lnTo>
                    <a:pt x="7537" y="2119"/>
                  </a:lnTo>
                  <a:cubicBezTo>
                    <a:pt x="7680" y="1905"/>
                    <a:pt x="7656" y="1619"/>
                    <a:pt x="7454" y="1441"/>
                  </a:cubicBezTo>
                  <a:lnTo>
                    <a:pt x="7096" y="1084"/>
                  </a:lnTo>
                  <a:cubicBezTo>
                    <a:pt x="6992" y="980"/>
                    <a:pt x="6848" y="924"/>
                    <a:pt x="6705" y="924"/>
                  </a:cubicBezTo>
                  <a:cubicBezTo>
                    <a:pt x="6603" y="924"/>
                    <a:pt x="6502" y="953"/>
                    <a:pt x="6418" y="1012"/>
                  </a:cubicBezTo>
                  <a:lnTo>
                    <a:pt x="5715" y="1465"/>
                  </a:lnTo>
                  <a:cubicBezTo>
                    <a:pt x="5549" y="1381"/>
                    <a:pt x="5394" y="1322"/>
                    <a:pt x="5227" y="1262"/>
                  </a:cubicBezTo>
                  <a:lnTo>
                    <a:pt x="5060" y="441"/>
                  </a:lnTo>
                  <a:cubicBezTo>
                    <a:pt x="5013" y="191"/>
                    <a:pt x="4775" y="0"/>
                    <a:pt x="4525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0" name="Google Shape;12297;p71">
              <a:extLst>
                <a:ext uri="{FF2B5EF4-FFF2-40B4-BE49-F238E27FC236}">
                  <a16:creationId xmlns:a16="http://schemas.microsoft.com/office/drawing/2014/main" id="{A6FE01C7-B5DC-F71C-CF2F-DDFA1E925456}"/>
                </a:ext>
              </a:extLst>
            </p:cNvPr>
            <p:cNvSpPr/>
            <p:nvPr/>
          </p:nvSpPr>
          <p:spPr>
            <a:xfrm>
              <a:off x="3184798" y="3878883"/>
              <a:ext cx="109550" cy="94018"/>
            </a:xfrm>
            <a:custGeom>
              <a:avLst/>
              <a:gdLst/>
              <a:ahLst/>
              <a:cxnLst/>
              <a:rect l="l" t="t" r="r" b="b"/>
              <a:pathLst>
                <a:path w="3442" h="2954" extrusionOk="0">
                  <a:moveTo>
                    <a:pt x="1465" y="1"/>
                  </a:moveTo>
                  <a:cubicBezTo>
                    <a:pt x="941" y="1"/>
                    <a:pt x="453" y="191"/>
                    <a:pt x="72" y="561"/>
                  </a:cubicBezTo>
                  <a:cubicBezTo>
                    <a:pt x="0" y="632"/>
                    <a:pt x="0" y="739"/>
                    <a:pt x="72" y="811"/>
                  </a:cubicBezTo>
                  <a:cubicBezTo>
                    <a:pt x="113" y="852"/>
                    <a:pt x="158" y="873"/>
                    <a:pt x="203" y="873"/>
                  </a:cubicBezTo>
                  <a:cubicBezTo>
                    <a:pt x="247" y="873"/>
                    <a:pt x="292" y="852"/>
                    <a:pt x="334" y="811"/>
                  </a:cubicBezTo>
                  <a:cubicBezTo>
                    <a:pt x="631" y="513"/>
                    <a:pt x="1024" y="358"/>
                    <a:pt x="1465" y="358"/>
                  </a:cubicBezTo>
                  <a:cubicBezTo>
                    <a:pt x="2358" y="358"/>
                    <a:pt x="3084" y="1084"/>
                    <a:pt x="3084" y="1977"/>
                  </a:cubicBezTo>
                  <a:cubicBezTo>
                    <a:pt x="3084" y="2227"/>
                    <a:pt x="3024" y="2477"/>
                    <a:pt x="2905" y="2716"/>
                  </a:cubicBezTo>
                  <a:cubicBezTo>
                    <a:pt x="2846" y="2799"/>
                    <a:pt x="2894" y="2894"/>
                    <a:pt x="2977" y="2942"/>
                  </a:cubicBezTo>
                  <a:cubicBezTo>
                    <a:pt x="3013" y="2954"/>
                    <a:pt x="3036" y="2954"/>
                    <a:pt x="3048" y="2954"/>
                  </a:cubicBezTo>
                  <a:cubicBezTo>
                    <a:pt x="3108" y="2954"/>
                    <a:pt x="3167" y="2930"/>
                    <a:pt x="3215" y="2870"/>
                  </a:cubicBezTo>
                  <a:cubicBezTo>
                    <a:pt x="3370" y="2585"/>
                    <a:pt x="3441" y="2287"/>
                    <a:pt x="3441" y="1977"/>
                  </a:cubicBezTo>
                  <a:cubicBezTo>
                    <a:pt x="3441" y="894"/>
                    <a:pt x="2560" y="1"/>
                    <a:pt x="1465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1" name="Google Shape;12298;p71">
              <a:extLst>
                <a:ext uri="{FF2B5EF4-FFF2-40B4-BE49-F238E27FC236}">
                  <a16:creationId xmlns:a16="http://schemas.microsoft.com/office/drawing/2014/main" id="{C39836B9-5FF8-54CA-D02B-B8C02BA96A3C}"/>
                </a:ext>
              </a:extLst>
            </p:cNvPr>
            <p:cNvSpPr/>
            <p:nvPr/>
          </p:nvSpPr>
          <p:spPr>
            <a:xfrm>
              <a:off x="3168120" y="3917331"/>
              <a:ext cx="102707" cy="87016"/>
            </a:xfrm>
            <a:custGeom>
              <a:avLst/>
              <a:gdLst/>
              <a:ahLst/>
              <a:cxnLst/>
              <a:rect l="l" t="t" r="r" b="b"/>
              <a:pathLst>
                <a:path w="3227" h="2734" extrusionOk="0">
                  <a:moveTo>
                    <a:pt x="277" y="0"/>
                  </a:moveTo>
                  <a:cubicBezTo>
                    <a:pt x="203" y="0"/>
                    <a:pt x="136" y="38"/>
                    <a:pt x="108" y="115"/>
                  </a:cubicBezTo>
                  <a:cubicBezTo>
                    <a:pt x="36" y="317"/>
                    <a:pt x="0" y="531"/>
                    <a:pt x="0" y="758"/>
                  </a:cubicBezTo>
                  <a:cubicBezTo>
                    <a:pt x="0" y="1841"/>
                    <a:pt x="881" y="2734"/>
                    <a:pt x="1977" y="2734"/>
                  </a:cubicBezTo>
                  <a:cubicBezTo>
                    <a:pt x="2394" y="2734"/>
                    <a:pt x="2798" y="2603"/>
                    <a:pt x="3144" y="2365"/>
                  </a:cubicBezTo>
                  <a:cubicBezTo>
                    <a:pt x="3215" y="2305"/>
                    <a:pt x="3227" y="2198"/>
                    <a:pt x="3191" y="2127"/>
                  </a:cubicBezTo>
                  <a:cubicBezTo>
                    <a:pt x="3162" y="2075"/>
                    <a:pt x="3106" y="2051"/>
                    <a:pt x="3050" y="2051"/>
                  </a:cubicBezTo>
                  <a:cubicBezTo>
                    <a:pt x="3015" y="2051"/>
                    <a:pt x="2981" y="2061"/>
                    <a:pt x="2953" y="2079"/>
                  </a:cubicBezTo>
                  <a:cubicBezTo>
                    <a:pt x="2667" y="2282"/>
                    <a:pt x="2334" y="2389"/>
                    <a:pt x="2001" y="2389"/>
                  </a:cubicBezTo>
                  <a:cubicBezTo>
                    <a:pt x="1108" y="2389"/>
                    <a:pt x="370" y="1662"/>
                    <a:pt x="370" y="769"/>
                  </a:cubicBezTo>
                  <a:cubicBezTo>
                    <a:pt x="370" y="591"/>
                    <a:pt x="405" y="412"/>
                    <a:pt x="465" y="246"/>
                  </a:cubicBezTo>
                  <a:cubicBezTo>
                    <a:pt x="465" y="138"/>
                    <a:pt x="417" y="43"/>
                    <a:pt x="334" y="7"/>
                  </a:cubicBezTo>
                  <a:cubicBezTo>
                    <a:pt x="315" y="3"/>
                    <a:pt x="296" y="0"/>
                    <a:pt x="277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2" name="Google Shape;12299;p71">
              <a:extLst>
                <a:ext uri="{FF2B5EF4-FFF2-40B4-BE49-F238E27FC236}">
                  <a16:creationId xmlns:a16="http://schemas.microsoft.com/office/drawing/2014/main" id="{BAA90311-016F-E523-CF42-2B9DF16A2955}"/>
                </a:ext>
              </a:extLst>
            </p:cNvPr>
            <p:cNvSpPr/>
            <p:nvPr/>
          </p:nvSpPr>
          <p:spPr>
            <a:xfrm>
              <a:off x="3264749" y="3976275"/>
              <a:ext cx="183836" cy="183836"/>
            </a:xfrm>
            <a:custGeom>
              <a:avLst/>
              <a:gdLst/>
              <a:ahLst/>
              <a:cxnLst/>
              <a:rect l="l" t="t" r="r" b="b"/>
              <a:pathLst>
                <a:path w="5776" h="5776" extrusionOk="0">
                  <a:moveTo>
                    <a:pt x="2739" y="1"/>
                  </a:moveTo>
                  <a:cubicBezTo>
                    <a:pt x="2548" y="1"/>
                    <a:pt x="2370" y="156"/>
                    <a:pt x="2322" y="346"/>
                  </a:cubicBezTo>
                  <a:lnTo>
                    <a:pt x="2215" y="846"/>
                  </a:lnTo>
                  <a:cubicBezTo>
                    <a:pt x="2132" y="882"/>
                    <a:pt x="2036" y="930"/>
                    <a:pt x="1953" y="953"/>
                  </a:cubicBezTo>
                  <a:lnTo>
                    <a:pt x="1525" y="668"/>
                  </a:lnTo>
                  <a:cubicBezTo>
                    <a:pt x="1454" y="627"/>
                    <a:pt x="1372" y="606"/>
                    <a:pt x="1291" y="606"/>
                  </a:cubicBezTo>
                  <a:cubicBezTo>
                    <a:pt x="1181" y="606"/>
                    <a:pt x="1071" y="645"/>
                    <a:pt x="989" y="727"/>
                  </a:cubicBezTo>
                  <a:lnTo>
                    <a:pt x="751" y="965"/>
                  </a:lnTo>
                  <a:cubicBezTo>
                    <a:pt x="620" y="1108"/>
                    <a:pt x="584" y="1322"/>
                    <a:pt x="691" y="1501"/>
                  </a:cubicBezTo>
                  <a:lnTo>
                    <a:pt x="977" y="1942"/>
                  </a:lnTo>
                  <a:cubicBezTo>
                    <a:pt x="917" y="2061"/>
                    <a:pt x="870" y="2180"/>
                    <a:pt x="822" y="2311"/>
                  </a:cubicBezTo>
                  <a:cubicBezTo>
                    <a:pt x="786" y="2394"/>
                    <a:pt x="858" y="2501"/>
                    <a:pt x="941" y="2537"/>
                  </a:cubicBezTo>
                  <a:cubicBezTo>
                    <a:pt x="954" y="2541"/>
                    <a:pt x="967" y="2542"/>
                    <a:pt x="980" y="2542"/>
                  </a:cubicBezTo>
                  <a:cubicBezTo>
                    <a:pt x="1055" y="2542"/>
                    <a:pt x="1137" y="2489"/>
                    <a:pt x="1167" y="2418"/>
                  </a:cubicBezTo>
                  <a:cubicBezTo>
                    <a:pt x="1203" y="2275"/>
                    <a:pt x="1251" y="2144"/>
                    <a:pt x="1322" y="2025"/>
                  </a:cubicBezTo>
                  <a:cubicBezTo>
                    <a:pt x="1358" y="1965"/>
                    <a:pt x="1358" y="1894"/>
                    <a:pt x="1322" y="1846"/>
                  </a:cubicBezTo>
                  <a:lnTo>
                    <a:pt x="989" y="1322"/>
                  </a:lnTo>
                  <a:cubicBezTo>
                    <a:pt x="977" y="1299"/>
                    <a:pt x="977" y="1263"/>
                    <a:pt x="1001" y="1239"/>
                  </a:cubicBezTo>
                  <a:lnTo>
                    <a:pt x="1239" y="1001"/>
                  </a:lnTo>
                  <a:cubicBezTo>
                    <a:pt x="1258" y="981"/>
                    <a:pt x="1274" y="973"/>
                    <a:pt x="1291" y="973"/>
                  </a:cubicBezTo>
                  <a:cubicBezTo>
                    <a:pt x="1304" y="973"/>
                    <a:pt x="1318" y="978"/>
                    <a:pt x="1334" y="989"/>
                  </a:cubicBezTo>
                  <a:lnTo>
                    <a:pt x="1846" y="1322"/>
                  </a:lnTo>
                  <a:cubicBezTo>
                    <a:pt x="1878" y="1342"/>
                    <a:pt x="1910" y="1354"/>
                    <a:pt x="1942" y="1354"/>
                  </a:cubicBezTo>
                  <a:cubicBezTo>
                    <a:pt x="1969" y="1354"/>
                    <a:pt x="1997" y="1345"/>
                    <a:pt x="2025" y="1322"/>
                  </a:cubicBezTo>
                  <a:cubicBezTo>
                    <a:pt x="2144" y="1251"/>
                    <a:pt x="2287" y="1203"/>
                    <a:pt x="2417" y="1156"/>
                  </a:cubicBezTo>
                  <a:cubicBezTo>
                    <a:pt x="2477" y="1144"/>
                    <a:pt x="2537" y="1084"/>
                    <a:pt x="2537" y="1025"/>
                  </a:cubicBezTo>
                  <a:lnTo>
                    <a:pt x="2656" y="418"/>
                  </a:lnTo>
                  <a:cubicBezTo>
                    <a:pt x="2656" y="382"/>
                    <a:pt x="2679" y="358"/>
                    <a:pt x="2727" y="358"/>
                  </a:cubicBezTo>
                  <a:lnTo>
                    <a:pt x="3060" y="358"/>
                  </a:lnTo>
                  <a:cubicBezTo>
                    <a:pt x="3084" y="358"/>
                    <a:pt x="3120" y="394"/>
                    <a:pt x="3132" y="418"/>
                  </a:cubicBezTo>
                  <a:lnTo>
                    <a:pt x="3251" y="1025"/>
                  </a:lnTo>
                  <a:cubicBezTo>
                    <a:pt x="3263" y="1084"/>
                    <a:pt x="3310" y="1144"/>
                    <a:pt x="3370" y="1156"/>
                  </a:cubicBezTo>
                  <a:cubicBezTo>
                    <a:pt x="3501" y="1203"/>
                    <a:pt x="3632" y="1251"/>
                    <a:pt x="3751" y="1322"/>
                  </a:cubicBezTo>
                  <a:cubicBezTo>
                    <a:pt x="3781" y="1340"/>
                    <a:pt x="3816" y="1349"/>
                    <a:pt x="3849" y="1349"/>
                  </a:cubicBezTo>
                  <a:cubicBezTo>
                    <a:pt x="3882" y="1349"/>
                    <a:pt x="3912" y="1340"/>
                    <a:pt x="3930" y="1322"/>
                  </a:cubicBezTo>
                  <a:lnTo>
                    <a:pt x="4453" y="989"/>
                  </a:lnTo>
                  <a:cubicBezTo>
                    <a:pt x="4469" y="978"/>
                    <a:pt x="4483" y="973"/>
                    <a:pt x="4497" y="973"/>
                  </a:cubicBezTo>
                  <a:cubicBezTo>
                    <a:pt x="4513" y="973"/>
                    <a:pt x="4529" y="981"/>
                    <a:pt x="4549" y="1001"/>
                  </a:cubicBezTo>
                  <a:lnTo>
                    <a:pt x="4787" y="1239"/>
                  </a:lnTo>
                  <a:cubicBezTo>
                    <a:pt x="4811" y="1263"/>
                    <a:pt x="4811" y="1299"/>
                    <a:pt x="4799" y="1322"/>
                  </a:cubicBezTo>
                  <a:lnTo>
                    <a:pt x="4453" y="1846"/>
                  </a:lnTo>
                  <a:cubicBezTo>
                    <a:pt x="4430" y="1906"/>
                    <a:pt x="4406" y="1965"/>
                    <a:pt x="4453" y="2025"/>
                  </a:cubicBezTo>
                  <a:cubicBezTo>
                    <a:pt x="4525" y="2144"/>
                    <a:pt x="4573" y="2275"/>
                    <a:pt x="4620" y="2418"/>
                  </a:cubicBezTo>
                  <a:cubicBezTo>
                    <a:pt x="4632" y="2477"/>
                    <a:pt x="4692" y="2537"/>
                    <a:pt x="4751" y="2537"/>
                  </a:cubicBezTo>
                  <a:lnTo>
                    <a:pt x="5358" y="2656"/>
                  </a:lnTo>
                  <a:cubicBezTo>
                    <a:pt x="5394" y="2656"/>
                    <a:pt x="5418" y="2680"/>
                    <a:pt x="5418" y="2727"/>
                  </a:cubicBezTo>
                  <a:lnTo>
                    <a:pt x="5418" y="3049"/>
                  </a:lnTo>
                  <a:cubicBezTo>
                    <a:pt x="5418" y="3085"/>
                    <a:pt x="5394" y="3108"/>
                    <a:pt x="5358" y="3132"/>
                  </a:cubicBezTo>
                  <a:lnTo>
                    <a:pt x="4751" y="3251"/>
                  </a:lnTo>
                  <a:cubicBezTo>
                    <a:pt x="4692" y="3263"/>
                    <a:pt x="4632" y="3311"/>
                    <a:pt x="4620" y="3370"/>
                  </a:cubicBezTo>
                  <a:cubicBezTo>
                    <a:pt x="4573" y="3501"/>
                    <a:pt x="4525" y="3632"/>
                    <a:pt x="4453" y="3751"/>
                  </a:cubicBezTo>
                  <a:cubicBezTo>
                    <a:pt x="4430" y="3811"/>
                    <a:pt x="4430" y="3882"/>
                    <a:pt x="4453" y="3930"/>
                  </a:cubicBezTo>
                  <a:lnTo>
                    <a:pt x="4799" y="4454"/>
                  </a:lnTo>
                  <a:cubicBezTo>
                    <a:pt x="4811" y="4478"/>
                    <a:pt x="4811" y="4513"/>
                    <a:pt x="4787" y="4537"/>
                  </a:cubicBezTo>
                  <a:lnTo>
                    <a:pt x="4549" y="4775"/>
                  </a:lnTo>
                  <a:cubicBezTo>
                    <a:pt x="4526" y="4798"/>
                    <a:pt x="4508" y="4806"/>
                    <a:pt x="4489" y="4806"/>
                  </a:cubicBezTo>
                  <a:cubicBezTo>
                    <a:pt x="4478" y="4806"/>
                    <a:pt x="4467" y="4803"/>
                    <a:pt x="4453" y="4799"/>
                  </a:cubicBezTo>
                  <a:lnTo>
                    <a:pt x="3930" y="4454"/>
                  </a:lnTo>
                  <a:cubicBezTo>
                    <a:pt x="3898" y="4435"/>
                    <a:pt x="3866" y="4422"/>
                    <a:pt x="3834" y="4422"/>
                  </a:cubicBezTo>
                  <a:cubicBezTo>
                    <a:pt x="3806" y="4422"/>
                    <a:pt x="3779" y="4432"/>
                    <a:pt x="3751" y="4454"/>
                  </a:cubicBezTo>
                  <a:cubicBezTo>
                    <a:pt x="3632" y="4525"/>
                    <a:pt x="3501" y="4573"/>
                    <a:pt x="3370" y="4621"/>
                  </a:cubicBezTo>
                  <a:cubicBezTo>
                    <a:pt x="3310" y="4632"/>
                    <a:pt x="3251" y="4692"/>
                    <a:pt x="3251" y="4751"/>
                  </a:cubicBezTo>
                  <a:lnTo>
                    <a:pt x="3132" y="5359"/>
                  </a:lnTo>
                  <a:cubicBezTo>
                    <a:pt x="3132" y="5394"/>
                    <a:pt x="3096" y="5418"/>
                    <a:pt x="3060" y="5418"/>
                  </a:cubicBezTo>
                  <a:lnTo>
                    <a:pt x="2727" y="5418"/>
                  </a:lnTo>
                  <a:cubicBezTo>
                    <a:pt x="2703" y="5418"/>
                    <a:pt x="2668" y="5394"/>
                    <a:pt x="2656" y="5359"/>
                  </a:cubicBezTo>
                  <a:lnTo>
                    <a:pt x="2537" y="4751"/>
                  </a:lnTo>
                  <a:cubicBezTo>
                    <a:pt x="2525" y="4692"/>
                    <a:pt x="2477" y="4632"/>
                    <a:pt x="2417" y="4621"/>
                  </a:cubicBezTo>
                  <a:cubicBezTo>
                    <a:pt x="2287" y="4573"/>
                    <a:pt x="2144" y="4525"/>
                    <a:pt x="2025" y="4454"/>
                  </a:cubicBezTo>
                  <a:cubicBezTo>
                    <a:pt x="1995" y="4436"/>
                    <a:pt x="1962" y="4427"/>
                    <a:pt x="1931" y="4427"/>
                  </a:cubicBezTo>
                  <a:cubicBezTo>
                    <a:pt x="1900" y="4427"/>
                    <a:pt x="1870" y="4436"/>
                    <a:pt x="1846" y="4454"/>
                  </a:cubicBezTo>
                  <a:lnTo>
                    <a:pt x="1334" y="4799"/>
                  </a:lnTo>
                  <a:cubicBezTo>
                    <a:pt x="1321" y="4803"/>
                    <a:pt x="1309" y="4806"/>
                    <a:pt x="1298" y="4806"/>
                  </a:cubicBezTo>
                  <a:cubicBezTo>
                    <a:pt x="1279" y="4806"/>
                    <a:pt x="1261" y="4798"/>
                    <a:pt x="1239" y="4775"/>
                  </a:cubicBezTo>
                  <a:lnTo>
                    <a:pt x="1001" y="4537"/>
                  </a:lnTo>
                  <a:cubicBezTo>
                    <a:pt x="977" y="4513"/>
                    <a:pt x="977" y="4478"/>
                    <a:pt x="989" y="4454"/>
                  </a:cubicBezTo>
                  <a:lnTo>
                    <a:pt x="1322" y="3930"/>
                  </a:lnTo>
                  <a:cubicBezTo>
                    <a:pt x="1358" y="3870"/>
                    <a:pt x="1370" y="3811"/>
                    <a:pt x="1322" y="3751"/>
                  </a:cubicBezTo>
                  <a:cubicBezTo>
                    <a:pt x="1251" y="3632"/>
                    <a:pt x="1215" y="3501"/>
                    <a:pt x="1167" y="3370"/>
                  </a:cubicBezTo>
                  <a:cubicBezTo>
                    <a:pt x="1144" y="3311"/>
                    <a:pt x="1084" y="3251"/>
                    <a:pt x="1024" y="3251"/>
                  </a:cubicBezTo>
                  <a:lnTo>
                    <a:pt x="417" y="3132"/>
                  </a:lnTo>
                  <a:cubicBezTo>
                    <a:pt x="393" y="3132"/>
                    <a:pt x="358" y="3097"/>
                    <a:pt x="358" y="3049"/>
                  </a:cubicBezTo>
                  <a:lnTo>
                    <a:pt x="358" y="2727"/>
                  </a:lnTo>
                  <a:cubicBezTo>
                    <a:pt x="358" y="2692"/>
                    <a:pt x="393" y="2668"/>
                    <a:pt x="417" y="2656"/>
                  </a:cubicBezTo>
                  <a:lnTo>
                    <a:pt x="465" y="2632"/>
                  </a:lnTo>
                  <a:cubicBezTo>
                    <a:pt x="548" y="2620"/>
                    <a:pt x="632" y="2525"/>
                    <a:pt x="596" y="2430"/>
                  </a:cubicBezTo>
                  <a:cubicBezTo>
                    <a:pt x="586" y="2352"/>
                    <a:pt x="520" y="2289"/>
                    <a:pt x="444" y="2289"/>
                  </a:cubicBezTo>
                  <a:cubicBezTo>
                    <a:pt x="428" y="2289"/>
                    <a:pt x="410" y="2292"/>
                    <a:pt x="393" y="2299"/>
                  </a:cubicBezTo>
                  <a:lnTo>
                    <a:pt x="346" y="2311"/>
                  </a:lnTo>
                  <a:cubicBezTo>
                    <a:pt x="155" y="2358"/>
                    <a:pt x="1" y="2513"/>
                    <a:pt x="1" y="2727"/>
                  </a:cubicBezTo>
                  <a:lnTo>
                    <a:pt x="1" y="3049"/>
                  </a:lnTo>
                  <a:cubicBezTo>
                    <a:pt x="1" y="3251"/>
                    <a:pt x="155" y="3430"/>
                    <a:pt x="346" y="3466"/>
                  </a:cubicBezTo>
                  <a:lnTo>
                    <a:pt x="846" y="3573"/>
                  </a:lnTo>
                  <a:cubicBezTo>
                    <a:pt x="882" y="3668"/>
                    <a:pt x="929" y="3751"/>
                    <a:pt x="953" y="3847"/>
                  </a:cubicBezTo>
                  <a:lnTo>
                    <a:pt x="679" y="4275"/>
                  </a:lnTo>
                  <a:cubicBezTo>
                    <a:pt x="572" y="4442"/>
                    <a:pt x="584" y="4656"/>
                    <a:pt x="727" y="4811"/>
                  </a:cubicBezTo>
                  <a:lnTo>
                    <a:pt x="977" y="5049"/>
                  </a:lnTo>
                  <a:cubicBezTo>
                    <a:pt x="1055" y="5127"/>
                    <a:pt x="1163" y="5172"/>
                    <a:pt x="1278" y="5172"/>
                  </a:cubicBezTo>
                  <a:cubicBezTo>
                    <a:pt x="1356" y="5172"/>
                    <a:pt x="1436" y="5152"/>
                    <a:pt x="1513" y="5109"/>
                  </a:cubicBezTo>
                  <a:lnTo>
                    <a:pt x="1941" y="4823"/>
                  </a:lnTo>
                  <a:cubicBezTo>
                    <a:pt x="2025" y="4871"/>
                    <a:pt x="2120" y="4894"/>
                    <a:pt x="2203" y="4930"/>
                  </a:cubicBezTo>
                  <a:lnTo>
                    <a:pt x="2310" y="5430"/>
                  </a:lnTo>
                  <a:cubicBezTo>
                    <a:pt x="2358" y="5633"/>
                    <a:pt x="2513" y="5775"/>
                    <a:pt x="2727" y="5775"/>
                  </a:cubicBezTo>
                  <a:lnTo>
                    <a:pt x="3060" y="5775"/>
                  </a:lnTo>
                  <a:cubicBezTo>
                    <a:pt x="3251" y="5775"/>
                    <a:pt x="3430" y="5633"/>
                    <a:pt x="3465" y="5430"/>
                  </a:cubicBezTo>
                  <a:lnTo>
                    <a:pt x="3572" y="4930"/>
                  </a:lnTo>
                  <a:cubicBezTo>
                    <a:pt x="3668" y="4894"/>
                    <a:pt x="3751" y="4859"/>
                    <a:pt x="3846" y="4823"/>
                  </a:cubicBezTo>
                  <a:lnTo>
                    <a:pt x="4275" y="5109"/>
                  </a:lnTo>
                  <a:cubicBezTo>
                    <a:pt x="4344" y="5153"/>
                    <a:pt x="4422" y="5175"/>
                    <a:pt x="4500" y="5175"/>
                  </a:cubicBezTo>
                  <a:cubicBezTo>
                    <a:pt x="4610" y="5175"/>
                    <a:pt x="4720" y="5132"/>
                    <a:pt x="4811" y="5049"/>
                  </a:cubicBezTo>
                  <a:lnTo>
                    <a:pt x="5049" y="4811"/>
                  </a:lnTo>
                  <a:cubicBezTo>
                    <a:pt x="5180" y="4680"/>
                    <a:pt x="5215" y="4454"/>
                    <a:pt x="5108" y="4275"/>
                  </a:cubicBezTo>
                  <a:lnTo>
                    <a:pt x="4823" y="3847"/>
                  </a:lnTo>
                  <a:cubicBezTo>
                    <a:pt x="4870" y="3751"/>
                    <a:pt x="4894" y="3668"/>
                    <a:pt x="4930" y="3573"/>
                  </a:cubicBezTo>
                  <a:lnTo>
                    <a:pt x="5442" y="3466"/>
                  </a:lnTo>
                  <a:cubicBezTo>
                    <a:pt x="5632" y="3430"/>
                    <a:pt x="5775" y="3263"/>
                    <a:pt x="5775" y="3049"/>
                  </a:cubicBezTo>
                  <a:lnTo>
                    <a:pt x="5775" y="2727"/>
                  </a:lnTo>
                  <a:cubicBezTo>
                    <a:pt x="5775" y="2513"/>
                    <a:pt x="5644" y="2358"/>
                    <a:pt x="5454" y="2311"/>
                  </a:cubicBezTo>
                  <a:lnTo>
                    <a:pt x="4942" y="2204"/>
                  </a:lnTo>
                  <a:cubicBezTo>
                    <a:pt x="4918" y="2120"/>
                    <a:pt x="4870" y="2025"/>
                    <a:pt x="4846" y="1942"/>
                  </a:cubicBezTo>
                  <a:lnTo>
                    <a:pt x="5120" y="1501"/>
                  </a:lnTo>
                  <a:cubicBezTo>
                    <a:pt x="5227" y="1346"/>
                    <a:pt x="5215" y="1120"/>
                    <a:pt x="5061" y="965"/>
                  </a:cubicBezTo>
                  <a:lnTo>
                    <a:pt x="4823" y="727"/>
                  </a:lnTo>
                  <a:cubicBezTo>
                    <a:pt x="4745" y="650"/>
                    <a:pt x="4634" y="610"/>
                    <a:pt x="4520" y="610"/>
                  </a:cubicBezTo>
                  <a:cubicBezTo>
                    <a:pt x="4441" y="610"/>
                    <a:pt x="4360" y="629"/>
                    <a:pt x="4287" y="668"/>
                  </a:cubicBezTo>
                  <a:lnTo>
                    <a:pt x="3858" y="953"/>
                  </a:lnTo>
                  <a:cubicBezTo>
                    <a:pt x="3763" y="906"/>
                    <a:pt x="3680" y="882"/>
                    <a:pt x="3596" y="846"/>
                  </a:cubicBezTo>
                  <a:lnTo>
                    <a:pt x="3489" y="346"/>
                  </a:lnTo>
                  <a:cubicBezTo>
                    <a:pt x="3441" y="156"/>
                    <a:pt x="3275" y="1"/>
                    <a:pt x="3072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3" name="Google Shape;12300;p71">
              <a:extLst>
                <a:ext uri="{FF2B5EF4-FFF2-40B4-BE49-F238E27FC236}">
                  <a16:creationId xmlns:a16="http://schemas.microsoft.com/office/drawing/2014/main" id="{064A6D76-4EC0-B5D9-C8B6-3661710022FD}"/>
                </a:ext>
              </a:extLst>
            </p:cNvPr>
            <p:cNvSpPr/>
            <p:nvPr/>
          </p:nvSpPr>
          <p:spPr>
            <a:xfrm>
              <a:off x="3326526" y="4036907"/>
              <a:ext cx="62541" cy="62573"/>
            </a:xfrm>
            <a:custGeom>
              <a:avLst/>
              <a:gdLst/>
              <a:ahLst/>
              <a:cxnLst/>
              <a:rect l="l" t="t" r="r" b="b"/>
              <a:pathLst>
                <a:path w="1965" h="1966" extrusionOk="0">
                  <a:moveTo>
                    <a:pt x="977" y="1"/>
                  </a:moveTo>
                  <a:cubicBezTo>
                    <a:pt x="441" y="1"/>
                    <a:pt x="0" y="453"/>
                    <a:pt x="0" y="989"/>
                  </a:cubicBezTo>
                  <a:cubicBezTo>
                    <a:pt x="0" y="1525"/>
                    <a:pt x="441" y="1965"/>
                    <a:pt x="977" y="1965"/>
                  </a:cubicBezTo>
                  <a:cubicBezTo>
                    <a:pt x="1203" y="1965"/>
                    <a:pt x="1417" y="1894"/>
                    <a:pt x="1572" y="1763"/>
                  </a:cubicBezTo>
                  <a:cubicBezTo>
                    <a:pt x="1655" y="1703"/>
                    <a:pt x="1667" y="1596"/>
                    <a:pt x="1608" y="1501"/>
                  </a:cubicBezTo>
                  <a:cubicBezTo>
                    <a:pt x="1574" y="1461"/>
                    <a:pt x="1525" y="1439"/>
                    <a:pt x="1473" y="1439"/>
                  </a:cubicBezTo>
                  <a:cubicBezTo>
                    <a:pt x="1434" y="1439"/>
                    <a:pt x="1394" y="1452"/>
                    <a:pt x="1358" y="1477"/>
                  </a:cubicBezTo>
                  <a:cubicBezTo>
                    <a:pt x="1250" y="1561"/>
                    <a:pt x="1119" y="1608"/>
                    <a:pt x="965" y="1608"/>
                  </a:cubicBezTo>
                  <a:cubicBezTo>
                    <a:pt x="619" y="1608"/>
                    <a:pt x="346" y="1322"/>
                    <a:pt x="346" y="977"/>
                  </a:cubicBezTo>
                  <a:cubicBezTo>
                    <a:pt x="346" y="644"/>
                    <a:pt x="619" y="358"/>
                    <a:pt x="977" y="358"/>
                  </a:cubicBezTo>
                  <a:cubicBezTo>
                    <a:pt x="1322" y="358"/>
                    <a:pt x="1608" y="644"/>
                    <a:pt x="1608" y="989"/>
                  </a:cubicBezTo>
                  <a:cubicBezTo>
                    <a:pt x="1608" y="1084"/>
                    <a:pt x="1679" y="1168"/>
                    <a:pt x="1786" y="1168"/>
                  </a:cubicBezTo>
                  <a:cubicBezTo>
                    <a:pt x="1893" y="1168"/>
                    <a:pt x="1965" y="1084"/>
                    <a:pt x="1965" y="989"/>
                  </a:cubicBezTo>
                  <a:cubicBezTo>
                    <a:pt x="1965" y="453"/>
                    <a:pt x="1512" y="1"/>
                    <a:pt x="977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44" name="Google Shape;12301;p71">
              <a:extLst>
                <a:ext uri="{FF2B5EF4-FFF2-40B4-BE49-F238E27FC236}">
                  <a16:creationId xmlns:a16="http://schemas.microsoft.com/office/drawing/2014/main" id="{D7C8D08B-52D0-D5FA-6F08-D9E98555E36C}"/>
                </a:ext>
              </a:extLst>
            </p:cNvPr>
            <p:cNvSpPr/>
            <p:nvPr/>
          </p:nvSpPr>
          <p:spPr>
            <a:xfrm>
              <a:off x="3196542" y="3907687"/>
              <a:ext cx="68238" cy="68238"/>
            </a:xfrm>
            <a:custGeom>
              <a:avLst/>
              <a:gdLst/>
              <a:ahLst/>
              <a:cxnLst/>
              <a:rect l="l" t="t" r="r" b="b"/>
              <a:pathLst>
                <a:path w="2144" h="2144" extrusionOk="0">
                  <a:moveTo>
                    <a:pt x="1072" y="358"/>
                  </a:moveTo>
                  <a:cubicBezTo>
                    <a:pt x="1477" y="358"/>
                    <a:pt x="1786" y="680"/>
                    <a:pt x="1786" y="1072"/>
                  </a:cubicBezTo>
                  <a:cubicBezTo>
                    <a:pt x="1786" y="1477"/>
                    <a:pt x="1465" y="1787"/>
                    <a:pt x="1072" y="1787"/>
                  </a:cubicBezTo>
                  <a:cubicBezTo>
                    <a:pt x="691" y="1787"/>
                    <a:pt x="358" y="1453"/>
                    <a:pt x="358" y="1072"/>
                  </a:cubicBezTo>
                  <a:cubicBezTo>
                    <a:pt x="358" y="668"/>
                    <a:pt x="691" y="358"/>
                    <a:pt x="1072" y="358"/>
                  </a:cubicBezTo>
                  <a:close/>
                  <a:moveTo>
                    <a:pt x="1072" y="1"/>
                  </a:moveTo>
                  <a:cubicBezTo>
                    <a:pt x="477" y="1"/>
                    <a:pt x="0" y="477"/>
                    <a:pt x="0" y="1072"/>
                  </a:cubicBezTo>
                  <a:cubicBezTo>
                    <a:pt x="0" y="1668"/>
                    <a:pt x="477" y="2144"/>
                    <a:pt x="1072" y="2144"/>
                  </a:cubicBezTo>
                  <a:cubicBezTo>
                    <a:pt x="1667" y="2144"/>
                    <a:pt x="2144" y="1656"/>
                    <a:pt x="2144" y="1072"/>
                  </a:cubicBezTo>
                  <a:cubicBezTo>
                    <a:pt x="2144" y="477"/>
                    <a:pt x="1667" y="1"/>
                    <a:pt x="1072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45" name="Google Shape;12066;p71">
            <a:extLst>
              <a:ext uri="{FF2B5EF4-FFF2-40B4-BE49-F238E27FC236}">
                <a16:creationId xmlns:a16="http://schemas.microsoft.com/office/drawing/2014/main" id="{77639CED-8435-D9AC-3D7B-64F37CDBCDDA}"/>
              </a:ext>
            </a:extLst>
          </p:cNvPr>
          <p:cNvGrpSpPr/>
          <p:nvPr/>
        </p:nvGrpSpPr>
        <p:grpSpPr>
          <a:xfrm>
            <a:off x="9456515" y="2465691"/>
            <a:ext cx="455909" cy="459252"/>
            <a:chOff x="3541011" y="3367320"/>
            <a:chExt cx="348257" cy="346188"/>
          </a:xfrm>
          <a:solidFill>
            <a:srgbClr val="AE8705"/>
          </a:solidFill>
        </p:grpSpPr>
        <p:sp>
          <p:nvSpPr>
            <p:cNvPr id="46" name="Google Shape;12067;p71">
              <a:extLst>
                <a:ext uri="{FF2B5EF4-FFF2-40B4-BE49-F238E27FC236}">
                  <a16:creationId xmlns:a16="http://schemas.microsoft.com/office/drawing/2014/main" id="{6047457C-5167-83A1-0592-056045090DB9}"/>
                </a:ext>
              </a:extLst>
            </p:cNvPr>
            <p:cNvSpPr/>
            <p:nvPr/>
          </p:nvSpPr>
          <p:spPr>
            <a:xfrm>
              <a:off x="3541011" y="3367320"/>
              <a:ext cx="347906" cy="346188"/>
            </a:xfrm>
            <a:custGeom>
              <a:avLst/>
              <a:gdLst/>
              <a:ahLst/>
              <a:cxnLst/>
              <a:rect l="l" t="t" r="r" b="b"/>
              <a:pathLst>
                <a:path w="10931" h="10877" extrusionOk="0">
                  <a:moveTo>
                    <a:pt x="4203" y="6323"/>
                  </a:moveTo>
                  <a:cubicBezTo>
                    <a:pt x="4322" y="6454"/>
                    <a:pt x="4465" y="6609"/>
                    <a:pt x="4620" y="6740"/>
                  </a:cubicBezTo>
                  <a:lnTo>
                    <a:pt x="4024" y="7335"/>
                  </a:lnTo>
                  <a:lnTo>
                    <a:pt x="3977" y="7287"/>
                  </a:lnTo>
                  <a:lnTo>
                    <a:pt x="3632" y="6942"/>
                  </a:lnTo>
                  <a:lnTo>
                    <a:pt x="3584" y="6906"/>
                  </a:lnTo>
                  <a:lnTo>
                    <a:pt x="4203" y="6323"/>
                  </a:lnTo>
                  <a:close/>
                  <a:moveTo>
                    <a:pt x="3239" y="7123"/>
                  </a:moveTo>
                  <a:cubicBezTo>
                    <a:pt x="3307" y="7123"/>
                    <a:pt x="3376" y="7150"/>
                    <a:pt x="3429" y="7204"/>
                  </a:cubicBezTo>
                  <a:lnTo>
                    <a:pt x="3763" y="7537"/>
                  </a:lnTo>
                  <a:cubicBezTo>
                    <a:pt x="3858" y="7632"/>
                    <a:pt x="3858" y="7799"/>
                    <a:pt x="3751" y="7894"/>
                  </a:cubicBezTo>
                  <a:lnTo>
                    <a:pt x="3560" y="8097"/>
                  </a:lnTo>
                  <a:lnTo>
                    <a:pt x="2858" y="7394"/>
                  </a:lnTo>
                  <a:lnTo>
                    <a:pt x="3048" y="7204"/>
                  </a:lnTo>
                  <a:cubicBezTo>
                    <a:pt x="3102" y="7150"/>
                    <a:pt x="3170" y="7123"/>
                    <a:pt x="3239" y="7123"/>
                  </a:cubicBezTo>
                  <a:close/>
                  <a:moveTo>
                    <a:pt x="2631" y="7597"/>
                  </a:moveTo>
                  <a:lnTo>
                    <a:pt x="3334" y="8299"/>
                  </a:lnTo>
                  <a:lnTo>
                    <a:pt x="1167" y="10478"/>
                  </a:lnTo>
                  <a:cubicBezTo>
                    <a:pt x="1113" y="10526"/>
                    <a:pt x="1045" y="10550"/>
                    <a:pt x="976" y="10550"/>
                  </a:cubicBezTo>
                  <a:cubicBezTo>
                    <a:pt x="908" y="10550"/>
                    <a:pt x="840" y="10526"/>
                    <a:pt x="786" y="10478"/>
                  </a:cubicBezTo>
                  <a:lnTo>
                    <a:pt x="453" y="10133"/>
                  </a:lnTo>
                  <a:cubicBezTo>
                    <a:pt x="357" y="10038"/>
                    <a:pt x="357" y="9883"/>
                    <a:pt x="465" y="9776"/>
                  </a:cubicBezTo>
                  <a:lnTo>
                    <a:pt x="2631" y="7597"/>
                  </a:lnTo>
                  <a:close/>
                  <a:moveTo>
                    <a:pt x="7120" y="1"/>
                  </a:moveTo>
                  <a:cubicBezTo>
                    <a:pt x="3989" y="1"/>
                    <a:pt x="2191" y="3537"/>
                    <a:pt x="4001" y="6073"/>
                  </a:cubicBezTo>
                  <a:lnTo>
                    <a:pt x="3274" y="6799"/>
                  </a:lnTo>
                  <a:cubicBezTo>
                    <a:pt x="3249" y="6796"/>
                    <a:pt x="3223" y="6794"/>
                    <a:pt x="3198" y="6794"/>
                  </a:cubicBezTo>
                  <a:cubicBezTo>
                    <a:pt x="3049" y="6794"/>
                    <a:pt x="2912" y="6854"/>
                    <a:pt x="2810" y="6966"/>
                  </a:cubicBezTo>
                  <a:lnTo>
                    <a:pt x="226" y="9549"/>
                  </a:lnTo>
                  <a:cubicBezTo>
                    <a:pt x="0" y="9776"/>
                    <a:pt x="0" y="10145"/>
                    <a:pt x="226" y="10371"/>
                  </a:cubicBezTo>
                  <a:lnTo>
                    <a:pt x="572" y="10716"/>
                  </a:lnTo>
                  <a:cubicBezTo>
                    <a:pt x="679" y="10823"/>
                    <a:pt x="828" y="10877"/>
                    <a:pt x="976" y="10877"/>
                  </a:cubicBezTo>
                  <a:cubicBezTo>
                    <a:pt x="1125" y="10877"/>
                    <a:pt x="1274" y="10823"/>
                    <a:pt x="1381" y="10716"/>
                  </a:cubicBezTo>
                  <a:lnTo>
                    <a:pt x="3655" y="8430"/>
                  </a:lnTo>
                  <a:lnTo>
                    <a:pt x="3977" y="8121"/>
                  </a:lnTo>
                  <a:cubicBezTo>
                    <a:pt x="4096" y="8002"/>
                    <a:pt x="4155" y="7835"/>
                    <a:pt x="4144" y="7656"/>
                  </a:cubicBezTo>
                  <a:lnTo>
                    <a:pt x="4870" y="6930"/>
                  </a:lnTo>
                  <a:cubicBezTo>
                    <a:pt x="5406" y="7323"/>
                    <a:pt x="6037" y="7573"/>
                    <a:pt x="6715" y="7632"/>
                  </a:cubicBezTo>
                  <a:lnTo>
                    <a:pt x="6727" y="7632"/>
                  </a:lnTo>
                  <a:cubicBezTo>
                    <a:pt x="6799" y="7632"/>
                    <a:pt x="6882" y="7573"/>
                    <a:pt x="6894" y="7478"/>
                  </a:cubicBezTo>
                  <a:cubicBezTo>
                    <a:pt x="6906" y="7394"/>
                    <a:pt x="6834" y="7323"/>
                    <a:pt x="6739" y="7299"/>
                  </a:cubicBezTo>
                  <a:cubicBezTo>
                    <a:pt x="6037" y="7228"/>
                    <a:pt x="5406" y="6966"/>
                    <a:pt x="4882" y="6549"/>
                  </a:cubicBezTo>
                  <a:cubicBezTo>
                    <a:pt x="2298" y="4465"/>
                    <a:pt x="3822" y="310"/>
                    <a:pt x="7096" y="310"/>
                  </a:cubicBezTo>
                  <a:cubicBezTo>
                    <a:pt x="8942" y="310"/>
                    <a:pt x="10418" y="1703"/>
                    <a:pt x="10597" y="3465"/>
                  </a:cubicBezTo>
                  <a:cubicBezTo>
                    <a:pt x="10609" y="3549"/>
                    <a:pt x="10692" y="3608"/>
                    <a:pt x="10775" y="3608"/>
                  </a:cubicBezTo>
                  <a:cubicBezTo>
                    <a:pt x="10871" y="3596"/>
                    <a:pt x="10930" y="3525"/>
                    <a:pt x="10930" y="3430"/>
                  </a:cubicBezTo>
                  <a:cubicBezTo>
                    <a:pt x="10728" y="1525"/>
                    <a:pt x="9120" y="1"/>
                    <a:pt x="7120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</a:endParaRPr>
            </a:p>
          </p:txBody>
        </p:sp>
        <p:sp>
          <p:nvSpPr>
            <p:cNvPr id="47" name="Google Shape;12068;p71">
              <a:extLst>
                <a:ext uri="{FF2B5EF4-FFF2-40B4-BE49-F238E27FC236}">
                  <a16:creationId xmlns:a16="http://schemas.microsoft.com/office/drawing/2014/main" id="{B8E23C1F-E867-BC4E-1DDE-A4DD44FCAE8B}"/>
                </a:ext>
              </a:extLst>
            </p:cNvPr>
            <p:cNvSpPr/>
            <p:nvPr/>
          </p:nvSpPr>
          <p:spPr>
            <a:xfrm>
              <a:off x="3658105" y="3389599"/>
              <a:ext cx="208820" cy="199431"/>
            </a:xfrm>
            <a:custGeom>
              <a:avLst/>
              <a:gdLst/>
              <a:ahLst/>
              <a:cxnLst/>
              <a:rect l="l" t="t" r="r" b="b"/>
              <a:pathLst>
                <a:path w="6561" h="6266" extrusionOk="0">
                  <a:moveTo>
                    <a:pt x="3441" y="336"/>
                  </a:moveTo>
                  <a:cubicBezTo>
                    <a:pt x="4989" y="336"/>
                    <a:pt x="6251" y="1587"/>
                    <a:pt x="6251" y="3146"/>
                  </a:cubicBezTo>
                  <a:cubicBezTo>
                    <a:pt x="6251" y="4694"/>
                    <a:pt x="4989" y="5944"/>
                    <a:pt x="3441" y="5944"/>
                  </a:cubicBezTo>
                  <a:cubicBezTo>
                    <a:pt x="2727" y="5944"/>
                    <a:pt x="1989" y="5682"/>
                    <a:pt x="1441" y="5135"/>
                  </a:cubicBezTo>
                  <a:cubicBezTo>
                    <a:pt x="345" y="4027"/>
                    <a:pt x="345" y="2241"/>
                    <a:pt x="1441" y="1158"/>
                  </a:cubicBezTo>
                  <a:cubicBezTo>
                    <a:pt x="1989" y="598"/>
                    <a:pt x="2703" y="336"/>
                    <a:pt x="3441" y="336"/>
                  </a:cubicBezTo>
                  <a:close/>
                  <a:moveTo>
                    <a:pt x="3428" y="0"/>
                  </a:moveTo>
                  <a:cubicBezTo>
                    <a:pt x="2628" y="0"/>
                    <a:pt x="1828" y="307"/>
                    <a:pt x="1215" y="920"/>
                  </a:cubicBezTo>
                  <a:cubicBezTo>
                    <a:pt x="0" y="2134"/>
                    <a:pt x="0" y="4123"/>
                    <a:pt x="1215" y="5337"/>
                  </a:cubicBezTo>
                  <a:cubicBezTo>
                    <a:pt x="1822" y="5944"/>
                    <a:pt x="2631" y="6266"/>
                    <a:pt x="3429" y="6266"/>
                  </a:cubicBezTo>
                  <a:cubicBezTo>
                    <a:pt x="5144" y="6266"/>
                    <a:pt x="6561" y="4873"/>
                    <a:pt x="6561" y="3134"/>
                  </a:cubicBezTo>
                  <a:cubicBezTo>
                    <a:pt x="6561" y="2301"/>
                    <a:pt x="6227" y="1515"/>
                    <a:pt x="5632" y="920"/>
                  </a:cubicBezTo>
                  <a:cubicBezTo>
                    <a:pt x="5025" y="307"/>
                    <a:pt x="4227" y="0"/>
                    <a:pt x="3428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7A40"/>
                </a:solidFill>
              </a:endParaRPr>
            </a:p>
          </p:txBody>
        </p:sp>
        <p:sp>
          <p:nvSpPr>
            <p:cNvPr id="48" name="Google Shape;12069;p71">
              <a:extLst>
                <a:ext uri="{FF2B5EF4-FFF2-40B4-BE49-F238E27FC236}">
                  <a16:creationId xmlns:a16="http://schemas.microsoft.com/office/drawing/2014/main" id="{4695D8E2-31B1-6C43-95FC-05A459CD341C}"/>
                </a:ext>
              </a:extLst>
            </p:cNvPr>
            <p:cNvSpPr/>
            <p:nvPr/>
          </p:nvSpPr>
          <p:spPr>
            <a:xfrm>
              <a:off x="3720614" y="3426805"/>
              <a:ext cx="95164" cy="116011"/>
            </a:xfrm>
            <a:custGeom>
              <a:avLst/>
              <a:gdLst/>
              <a:ahLst/>
              <a:cxnLst/>
              <a:rect l="l" t="t" r="r" b="b"/>
              <a:pathLst>
                <a:path w="2990" h="3645" extrusionOk="0">
                  <a:moveTo>
                    <a:pt x="1477" y="334"/>
                  </a:moveTo>
                  <a:cubicBezTo>
                    <a:pt x="1834" y="334"/>
                    <a:pt x="2132" y="632"/>
                    <a:pt x="2132" y="989"/>
                  </a:cubicBezTo>
                  <a:cubicBezTo>
                    <a:pt x="2132" y="1334"/>
                    <a:pt x="1834" y="1632"/>
                    <a:pt x="1477" y="1632"/>
                  </a:cubicBezTo>
                  <a:cubicBezTo>
                    <a:pt x="1120" y="1632"/>
                    <a:pt x="822" y="1334"/>
                    <a:pt x="822" y="989"/>
                  </a:cubicBezTo>
                  <a:cubicBezTo>
                    <a:pt x="822" y="608"/>
                    <a:pt x="1120" y="334"/>
                    <a:pt x="1477" y="334"/>
                  </a:cubicBezTo>
                  <a:close/>
                  <a:moveTo>
                    <a:pt x="1906" y="1953"/>
                  </a:moveTo>
                  <a:cubicBezTo>
                    <a:pt x="2287" y="1953"/>
                    <a:pt x="2620" y="2263"/>
                    <a:pt x="2620" y="2668"/>
                  </a:cubicBezTo>
                  <a:lnTo>
                    <a:pt x="2620" y="3335"/>
                  </a:lnTo>
                  <a:lnTo>
                    <a:pt x="2275" y="3335"/>
                  </a:lnTo>
                  <a:lnTo>
                    <a:pt x="2275" y="2632"/>
                  </a:lnTo>
                  <a:cubicBezTo>
                    <a:pt x="2275" y="2549"/>
                    <a:pt x="2203" y="2477"/>
                    <a:pt x="2108" y="2477"/>
                  </a:cubicBezTo>
                  <a:cubicBezTo>
                    <a:pt x="2025" y="2477"/>
                    <a:pt x="1953" y="2549"/>
                    <a:pt x="1953" y="2632"/>
                  </a:cubicBezTo>
                  <a:lnTo>
                    <a:pt x="1953" y="3335"/>
                  </a:lnTo>
                  <a:lnTo>
                    <a:pt x="953" y="3335"/>
                  </a:lnTo>
                  <a:lnTo>
                    <a:pt x="953" y="2632"/>
                  </a:lnTo>
                  <a:cubicBezTo>
                    <a:pt x="953" y="2549"/>
                    <a:pt x="882" y="2477"/>
                    <a:pt x="787" y="2477"/>
                  </a:cubicBezTo>
                  <a:cubicBezTo>
                    <a:pt x="691" y="2477"/>
                    <a:pt x="620" y="2549"/>
                    <a:pt x="620" y="2632"/>
                  </a:cubicBezTo>
                  <a:lnTo>
                    <a:pt x="620" y="3335"/>
                  </a:lnTo>
                  <a:lnTo>
                    <a:pt x="263" y="3335"/>
                  </a:lnTo>
                  <a:lnTo>
                    <a:pt x="263" y="2668"/>
                  </a:lnTo>
                  <a:cubicBezTo>
                    <a:pt x="263" y="2275"/>
                    <a:pt x="584" y="1953"/>
                    <a:pt x="977" y="1953"/>
                  </a:cubicBezTo>
                  <a:close/>
                  <a:moveTo>
                    <a:pt x="1477" y="1"/>
                  </a:moveTo>
                  <a:cubicBezTo>
                    <a:pt x="941" y="1"/>
                    <a:pt x="501" y="429"/>
                    <a:pt x="501" y="965"/>
                  </a:cubicBezTo>
                  <a:cubicBezTo>
                    <a:pt x="501" y="1239"/>
                    <a:pt x="608" y="1477"/>
                    <a:pt x="787" y="1656"/>
                  </a:cubicBezTo>
                  <a:cubicBezTo>
                    <a:pt x="322" y="1763"/>
                    <a:pt x="1" y="2180"/>
                    <a:pt x="1" y="2656"/>
                  </a:cubicBezTo>
                  <a:lnTo>
                    <a:pt x="1" y="3335"/>
                  </a:lnTo>
                  <a:cubicBezTo>
                    <a:pt x="1" y="3501"/>
                    <a:pt x="132" y="3644"/>
                    <a:pt x="310" y="3644"/>
                  </a:cubicBezTo>
                  <a:lnTo>
                    <a:pt x="2680" y="3644"/>
                  </a:lnTo>
                  <a:cubicBezTo>
                    <a:pt x="2846" y="3644"/>
                    <a:pt x="2989" y="3513"/>
                    <a:pt x="2989" y="3335"/>
                  </a:cubicBezTo>
                  <a:lnTo>
                    <a:pt x="2989" y="2656"/>
                  </a:lnTo>
                  <a:cubicBezTo>
                    <a:pt x="2965" y="2180"/>
                    <a:pt x="2620" y="1763"/>
                    <a:pt x="2156" y="1656"/>
                  </a:cubicBezTo>
                  <a:cubicBezTo>
                    <a:pt x="2334" y="1477"/>
                    <a:pt x="2442" y="1239"/>
                    <a:pt x="2442" y="965"/>
                  </a:cubicBezTo>
                  <a:cubicBezTo>
                    <a:pt x="2442" y="429"/>
                    <a:pt x="2013" y="1"/>
                    <a:pt x="1477" y="1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</a:endParaRPr>
            </a:p>
          </p:txBody>
        </p:sp>
        <p:sp>
          <p:nvSpPr>
            <p:cNvPr id="49" name="Google Shape;12070;p71">
              <a:extLst>
                <a:ext uri="{FF2B5EF4-FFF2-40B4-BE49-F238E27FC236}">
                  <a16:creationId xmlns:a16="http://schemas.microsoft.com/office/drawing/2014/main" id="{729E7283-CB63-8E96-7085-E6C563D070DD}"/>
                </a:ext>
              </a:extLst>
            </p:cNvPr>
            <p:cNvSpPr/>
            <p:nvPr/>
          </p:nvSpPr>
          <p:spPr>
            <a:xfrm>
              <a:off x="3773671" y="3496030"/>
              <a:ext cx="115597" cy="114993"/>
            </a:xfrm>
            <a:custGeom>
              <a:avLst/>
              <a:gdLst/>
              <a:ahLst/>
              <a:cxnLst/>
              <a:rect l="l" t="t" r="r" b="b"/>
              <a:pathLst>
                <a:path w="3632" h="3613" extrusionOk="0">
                  <a:moveTo>
                    <a:pt x="3433" y="0"/>
                  </a:moveTo>
                  <a:cubicBezTo>
                    <a:pt x="3361" y="0"/>
                    <a:pt x="3297" y="65"/>
                    <a:pt x="3287" y="148"/>
                  </a:cubicBezTo>
                  <a:cubicBezTo>
                    <a:pt x="3120" y="1803"/>
                    <a:pt x="1810" y="3112"/>
                    <a:pt x="143" y="3291"/>
                  </a:cubicBezTo>
                  <a:cubicBezTo>
                    <a:pt x="60" y="3303"/>
                    <a:pt x="1" y="3374"/>
                    <a:pt x="1" y="3469"/>
                  </a:cubicBezTo>
                  <a:cubicBezTo>
                    <a:pt x="13" y="3553"/>
                    <a:pt x="72" y="3612"/>
                    <a:pt x="167" y="3612"/>
                  </a:cubicBezTo>
                  <a:lnTo>
                    <a:pt x="179" y="3612"/>
                  </a:lnTo>
                  <a:cubicBezTo>
                    <a:pt x="1989" y="3422"/>
                    <a:pt x="3442" y="1993"/>
                    <a:pt x="3620" y="183"/>
                  </a:cubicBezTo>
                  <a:cubicBezTo>
                    <a:pt x="3632" y="88"/>
                    <a:pt x="3561" y="17"/>
                    <a:pt x="3465" y="5"/>
                  </a:cubicBezTo>
                  <a:cubicBezTo>
                    <a:pt x="3454" y="2"/>
                    <a:pt x="3443" y="0"/>
                    <a:pt x="3433" y="0"/>
                  </a:cubicBezTo>
                  <a:close/>
                </a:path>
              </a:pathLst>
            </a:custGeom>
            <a:grpFill/>
            <a:ln>
              <a:solidFill>
                <a:srgbClr val="B4975A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7A40"/>
                </a:solidFill>
              </a:endParaRPr>
            </a:p>
          </p:txBody>
        </p:sp>
      </p:grpSp>
      <p:cxnSp>
        <p:nvCxnSpPr>
          <p:cNvPr id="50" name="Straight Connector 112">
            <a:extLst>
              <a:ext uri="{FF2B5EF4-FFF2-40B4-BE49-F238E27FC236}">
                <a16:creationId xmlns:a16="http://schemas.microsoft.com/office/drawing/2014/main" id="{4B064BAA-15CD-29C5-FBC5-67449DEF1459}"/>
              </a:ext>
            </a:extLst>
          </p:cNvPr>
          <p:cNvCxnSpPr>
            <a:cxnSpLocks/>
          </p:cNvCxnSpPr>
          <p:nvPr/>
        </p:nvCxnSpPr>
        <p:spPr bwMode="auto">
          <a:xfrm>
            <a:off x="9264352" y="2996951"/>
            <a:ext cx="2367753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Straight Connector 112">
            <a:extLst>
              <a:ext uri="{FF2B5EF4-FFF2-40B4-BE49-F238E27FC236}">
                <a16:creationId xmlns:a16="http://schemas.microsoft.com/office/drawing/2014/main" id="{3CCBA426-3863-E6B9-F95F-4C2D7D0FA3C7}"/>
              </a:ext>
            </a:extLst>
          </p:cNvPr>
          <p:cNvCxnSpPr>
            <a:cxnSpLocks/>
          </p:cNvCxnSpPr>
          <p:nvPr/>
        </p:nvCxnSpPr>
        <p:spPr bwMode="auto">
          <a:xfrm>
            <a:off x="6320535" y="2996951"/>
            <a:ext cx="2367753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112">
            <a:extLst>
              <a:ext uri="{FF2B5EF4-FFF2-40B4-BE49-F238E27FC236}">
                <a16:creationId xmlns:a16="http://schemas.microsoft.com/office/drawing/2014/main" id="{3311CD0A-68A8-44AA-ECEC-74C17451103B}"/>
              </a:ext>
            </a:extLst>
          </p:cNvPr>
          <p:cNvCxnSpPr>
            <a:cxnSpLocks/>
          </p:cNvCxnSpPr>
          <p:nvPr/>
        </p:nvCxnSpPr>
        <p:spPr bwMode="auto">
          <a:xfrm>
            <a:off x="1568007" y="2997734"/>
            <a:ext cx="2799801" cy="0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07957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335" y="29376"/>
            <a:ext cx="108061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риоритеты Главы Государства - ориентир для Банка Развития Казахстана 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27">
            <a:extLst>
              <a:ext uri="{FF2B5EF4-FFF2-40B4-BE49-F238E27FC236}">
                <a16:creationId xmlns:a16="http://schemas.microsoft.com/office/drawing/2014/main" id="{172B4587-A333-6781-A756-48830EE5D431}"/>
              </a:ext>
            </a:extLst>
          </p:cNvPr>
          <p:cNvSpPr/>
          <p:nvPr/>
        </p:nvSpPr>
        <p:spPr>
          <a:xfrm>
            <a:off x="3940305" y="1285542"/>
            <a:ext cx="4106645" cy="232518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Прямоугольник 127">
            <a:extLst>
              <a:ext uri="{FF2B5EF4-FFF2-40B4-BE49-F238E27FC236}">
                <a16:creationId xmlns:a16="http://schemas.microsoft.com/office/drawing/2014/main" id="{68AED045-13F5-6C6E-59F0-685005666BC8}"/>
              </a:ext>
            </a:extLst>
          </p:cNvPr>
          <p:cNvSpPr/>
          <p:nvPr/>
        </p:nvSpPr>
        <p:spPr>
          <a:xfrm>
            <a:off x="3948156" y="3736830"/>
            <a:ext cx="4106645" cy="10603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11">
            <a:extLst>
              <a:ext uri="{FF2B5EF4-FFF2-40B4-BE49-F238E27FC236}">
                <a16:creationId xmlns:a16="http://schemas.microsoft.com/office/drawing/2014/main" id="{C97A7FB5-011A-BD48-5788-E7DDC30A707B}"/>
              </a:ext>
            </a:extLst>
          </p:cNvPr>
          <p:cNvSpPr/>
          <p:nvPr/>
        </p:nvSpPr>
        <p:spPr>
          <a:xfrm>
            <a:off x="3944856" y="476672"/>
            <a:ext cx="438931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fontAlgn="base">
              <a:spcBef>
                <a:spcPts val="800"/>
              </a:spcBef>
              <a:spcAft>
                <a:spcPts val="800"/>
              </a:spcAft>
              <a:defRPr/>
            </a:pPr>
            <a:r>
              <a:rPr lang="ru-RU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>Расширенное заседание правительство </a:t>
            </a:r>
            <a:r>
              <a:rPr lang="en-US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/>
            </a:r>
            <a:br>
              <a:rPr lang="en-US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</a:br>
            <a:r>
              <a:rPr lang="ru-RU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>с участием Главы Государства</a:t>
            </a:r>
            <a:br>
              <a:rPr lang="ru-RU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</a:b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>19 апреля 2023 года</a:t>
            </a:r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  <a:ea typeface="ヒラギノ角ゴ Pro W3" pitchFamily="124" charset="-128"/>
            </a:endParaRPr>
          </a:p>
        </p:txBody>
      </p:sp>
      <p:cxnSp>
        <p:nvCxnSpPr>
          <p:cNvPr id="13" name="Straight Connector 112">
            <a:extLst>
              <a:ext uri="{FF2B5EF4-FFF2-40B4-BE49-F238E27FC236}">
                <a16:creationId xmlns:a16="http://schemas.microsoft.com/office/drawing/2014/main" id="{4BA83622-2DCB-34FC-14B6-EDDA986BF2CD}"/>
              </a:ext>
            </a:extLst>
          </p:cNvPr>
          <p:cNvCxnSpPr>
            <a:cxnSpLocks/>
          </p:cNvCxnSpPr>
          <p:nvPr/>
        </p:nvCxnSpPr>
        <p:spPr bwMode="auto">
          <a:xfrm>
            <a:off x="4929643" y="1251335"/>
            <a:ext cx="2339473" cy="3901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rgbClr val="4D97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CC4B858-DC6C-017E-0433-B04C1591A1DF}"/>
              </a:ext>
            </a:extLst>
          </p:cNvPr>
          <p:cNvSpPr txBox="1"/>
          <p:nvPr/>
        </p:nvSpPr>
        <p:spPr>
          <a:xfrm>
            <a:off x="3943604" y="3789040"/>
            <a:ext cx="410334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низация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мунальной инфраструктуры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тране:</a:t>
            </a:r>
          </a:p>
          <a:p>
            <a:pPr algn="just" defTabSz="1219170" eaLnBrk="0" fontAlgn="base" hangingPunct="0">
              <a:buClr>
                <a:srgbClr val="7E7F83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- тепловых сетей</a:t>
            </a:r>
          </a:p>
          <a:p>
            <a:pPr algn="just" defTabSz="1219170" eaLnBrk="0" fontAlgn="base" hangingPunct="0">
              <a:buClr>
                <a:srgbClr val="7E7F83"/>
              </a:buClr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- управления водными ресурсам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068B4B6-39C0-B811-68BF-72AE5B04CF55}"/>
              </a:ext>
            </a:extLst>
          </p:cNvPr>
          <p:cNvSpPr txBox="1"/>
          <p:nvPr/>
        </p:nvSpPr>
        <p:spPr>
          <a:xfrm>
            <a:off x="3935760" y="1469683"/>
            <a:ext cx="405937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влечение отечественных банков для создания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годных условий для бизнеса и инвестиций</a:t>
            </a: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ширение возможности банковского сектора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кредитования крупных инвестиционных и инфраструктурных проектов</a:t>
            </a: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направление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логовых льгот на привлечение инвестиций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производство продукции с высокой добавленной стоимостью и стимулирование технологичного экспорт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9CF0C02-4230-9A0F-C5D0-5A266572244F}"/>
              </a:ext>
            </a:extLst>
          </p:cNvPr>
          <p:cNvSpPr txBox="1"/>
          <p:nvPr/>
        </p:nvSpPr>
        <p:spPr>
          <a:xfrm>
            <a:off x="3935760" y="5856499"/>
            <a:ext cx="4111190" cy="812861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4000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r>
              <a:rPr lang="ru-RU" sz="1600" dirty="0">
                <a:latin typeface="Arial Narrow" panose="020B0606020202030204" pitchFamily="34" charset="0"/>
              </a:rPr>
              <a:t>Направленность на диверсификацию экономики,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ее индустриализацию и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привлечение инвестиций</a:t>
            </a:r>
          </a:p>
        </p:txBody>
      </p:sp>
      <p:sp>
        <p:nvSpPr>
          <p:cNvPr id="48" name="Прямоугольник 127">
            <a:extLst>
              <a:ext uri="{FF2B5EF4-FFF2-40B4-BE49-F238E27FC236}">
                <a16:creationId xmlns:a16="http://schemas.microsoft.com/office/drawing/2014/main" id="{0C81FF8A-31CD-A2B8-2652-0AC229111508}"/>
              </a:ext>
            </a:extLst>
          </p:cNvPr>
          <p:cNvSpPr/>
          <p:nvPr/>
        </p:nvSpPr>
        <p:spPr>
          <a:xfrm>
            <a:off x="354927" y="5199838"/>
            <a:ext cx="3369602" cy="53167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Прямоугольник 127">
            <a:extLst>
              <a:ext uri="{FF2B5EF4-FFF2-40B4-BE49-F238E27FC236}">
                <a16:creationId xmlns:a16="http://schemas.microsoft.com/office/drawing/2014/main" id="{737246B4-8DE3-7A5C-A27E-C25F55098A95}"/>
              </a:ext>
            </a:extLst>
          </p:cNvPr>
          <p:cNvSpPr/>
          <p:nvPr/>
        </p:nvSpPr>
        <p:spPr>
          <a:xfrm>
            <a:off x="335360" y="1285542"/>
            <a:ext cx="3365865" cy="29729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6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Rectangle 111">
            <a:extLst>
              <a:ext uri="{FF2B5EF4-FFF2-40B4-BE49-F238E27FC236}">
                <a16:creationId xmlns:a16="http://schemas.microsoft.com/office/drawing/2014/main" id="{F908C2B0-C35B-5273-0FBA-653BB8300934}"/>
              </a:ext>
            </a:extLst>
          </p:cNvPr>
          <p:cNvSpPr/>
          <p:nvPr/>
        </p:nvSpPr>
        <p:spPr>
          <a:xfrm>
            <a:off x="119436" y="610490"/>
            <a:ext cx="39603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 fontAlgn="base">
              <a:spcBef>
                <a:spcPts val="800"/>
              </a:spcBef>
              <a:spcAft>
                <a:spcPts val="800"/>
              </a:spcAft>
              <a:defRPr/>
            </a:pPr>
            <a:r>
              <a:rPr lang="ru-RU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>Первая сессия Парламента VIII созыва</a:t>
            </a:r>
            <a:br>
              <a:rPr lang="ru-RU" sz="1600" b="1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</a:b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rPr>
              <a:t>29 марта 2023 года</a:t>
            </a:r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  <a:ea typeface="ヒラギノ角ゴ Pro W3" pitchFamily="124" charset="-128"/>
            </a:endParaRPr>
          </a:p>
        </p:txBody>
      </p:sp>
      <p:cxnSp>
        <p:nvCxnSpPr>
          <p:cNvPr id="51" name="Straight Connector 112">
            <a:extLst>
              <a:ext uri="{FF2B5EF4-FFF2-40B4-BE49-F238E27FC236}">
                <a16:creationId xmlns:a16="http://schemas.microsoft.com/office/drawing/2014/main" id="{AE2FF942-7838-9CE4-1421-BDA411B42899}"/>
              </a:ext>
            </a:extLst>
          </p:cNvPr>
          <p:cNvCxnSpPr>
            <a:cxnSpLocks/>
          </p:cNvCxnSpPr>
          <p:nvPr/>
        </p:nvCxnSpPr>
        <p:spPr bwMode="auto">
          <a:xfrm>
            <a:off x="784499" y="1260960"/>
            <a:ext cx="2339473" cy="3901"/>
          </a:xfrm>
          <a:prstGeom prst="line">
            <a:avLst/>
          </a:prstGeom>
          <a:solidFill>
            <a:schemeClr val="folHlink"/>
          </a:solidFill>
          <a:ln w="19050" cap="flat" cmpd="sng" algn="ctr">
            <a:solidFill>
              <a:srgbClr val="4D97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1D071344-58CB-19C3-77CE-458E18BF957A}"/>
              </a:ext>
            </a:extLst>
          </p:cNvPr>
          <p:cNvSpPr txBox="1"/>
          <p:nvPr/>
        </p:nvSpPr>
        <p:spPr>
          <a:xfrm>
            <a:off x="345828" y="1412776"/>
            <a:ext cx="3333805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смотр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дходов к инфраструктурному развитию</a:t>
            </a:r>
            <a:endParaRPr lang="ru-RU" sz="1400" dirty="0">
              <a:solidFill>
                <a:srgbClr val="000000"/>
              </a:solidFill>
              <a:latin typeface="Arial Narrow" panose="020B060602020203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низация и создание инженерной,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циальной инфраструктуры</a:t>
            </a: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сштабная реконструкция оросительных каналов</a:t>
            </a: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дрение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ффективных водосберегающих технологий</a:t>
            </a:r>
          </a:p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нижение показателей износа сетей тепло- и водоснабжения, водоотведения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 40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26F904F-32B5-5E3E-F306-EF5C1327C309}"/>
              </a:ext>
            </a:extLst>
          </p:cNvPr>
          <p:cNvSpPr txBox="1"/>
          <p:nvPr/>
        </p:nvSpPr>
        <p:spPr>
          <a:xfrm>
            <a:off x="345828" y="5845519"/>
            <a:ext cx="3378701" cy="812861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>
            <a:defPPr>
              <a:defRPr lang="ru-RU"/>
            </a:defPPr>
            <a:lvl1pPr marR="0" lvl="0" indent="0" algn="ctr" defTabSz="40005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</a:defRPr>
            </a:lvl1pPr>
          </a:lstStyle>
          <a:p>
            <a:r>
              <a:rPr lang="ru-RU" sz="1600" dirty="0">
                <a:latin typeface="Arial Narrow" panose="020B0606020202030204" pitchFamily="34" charset="0"/>
              </a:rPr>
              <a:t>Фокус на реальной индустриализации,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локализации производства, </a:t>
            </a:r>
            <a:br>
              <a:rPr lang="ru-RU" sz="1600" dirty="0">
                <a:latin typeface="Arial Narrow" panose="020B0606020202030204" pitchFamily="34" charset="0"/>
              </a:rPr>
            </a:br>
            <a:r>
              <a:rPr lang="ru-RU" sz="1600" dirty="0">
                <a:latin typeface="Arial Narrow" panose="020B0606020202030204" pitchFamily="34" charset="0"/>
              </a:rPr>
              <a:t>модернизации инфраструктуры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C36B457-7966-8FCB-6F9A-7FB5887A9B8A}"/>
              </a:ext>
            </a:extLst>
          </p:cNvPr>
          <p:cNvSpPr txBox="1"/>
          <p:nvPr/>
        </p:nvSpPr>
        <p:spPr>
          <a:xfrm>
            <a:off x="358210" y="5199838"/>
            <a:ext cx="305696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кус на обеспечении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довольственной безопасности</a:t>
            </a:r>
          </a:p>
        </p:txBody>
      </p:sp>
      <p:sp>
        <p:nvSpPr>
          <p:cNvPr id="85" name="Стрелка: вправо 84">
            <a:extLst>
              <a:ext uri="{FF2B5EF4-FFF2-40B4-BE49-F238E27FC236}">
                <a16:creationId xmlns:a16="http://schemas.microsoft.com/office/drawing/2014/main" id="{A7E2A59F-7FE8-D600-6EE7-85D925CA4F24}"/>
              </a:ext>
            </a:extLst>
          </p:cNvPr>
          <p:cNvSpPr/>
          <p:nvPr/>
        </p:nvSpPr>
        <p:spPr>
          <a:xfrm>
            <a:off x="8132140" y="2004273"/>
            <a:ext cx="448960" cy="3224927"/>
          </a:xfrm>
          <a:prstGeom prst="rightArrow">
            <a:avLst>
              <a:gd name="adj1" fmla="val 50000"/>
              <a:gd name="adj2" fmla="val 56105"/>
            </a:avLst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endParaRPr lang="ru-RU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CED7196-BC23-41D4-A2FA-B72611114595}"/>
              </a:ext>
            </a:extLst>
          </p:cNvPr>
          <p:cNvSpPr txBox="1"/>
          <p:nvPr/>
        </p:nvSpPr>
        <p:spPr>
          <a:xfrm>
            <a:off x="8473539" y="952026"/>
            <a:ext cx="3465137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585" lvl="1" algn="ctr" defTabSz="1219170"/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</a:rPr>
              <a:t>Новая стратегия развития</a:t>
            </a:r>
          </a:p>
          <a:p>
            <a:pPr marL="609585" lvl="1" algn="ctr" defTabSz="1219170"/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</a:rPr>
              <a:t>АО «Банк Развития Казахстана» </a:t>
            </a:r>
            <a:endParaRPr lang="en-US" sz="16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609585" lvl="1" algn="ctr" defTabSz="1219170"/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</a:rPr>
              <a:t>на</a:t>
            </a:r>
            <a:r>
              <a:rPr lang="en-US" sz="16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n-US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20</a:t>
            </a:r>
            <a:r>
              <a:rPr lang="ru-RU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24</a:t>
            </a:r>
            <a:r>
              <a:rPr lang="en-US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-20</a:t>
            </a:r>
            <a:r>
              <a:rPr lang="ru-RU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33</a:t>
            </a:r>
            <a:r>
              <a:rPr lang="en-US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>
                <a:solidFill>
                  <a:srgbClr val="406D69"/>
                </a:solidFill>
                <a:latin typeface="Arial Narrow" panose="020B0606020202030204" pitchFamily="34" charset="0"/>
              </a:rPr>
              <a:t>гг.:</a:t>
            </a:r>
            <a:endParaRPr lang="ru-KZ" sz="16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127">
            <a:extLst>
              <a:ext uri="{FF2B5EF4-FFF2-40B4-BE49-F238E27FC236}">
                <a16:creationId xmlns:a16="http://schemas.microsoft.com/office/drawing/2014/main" id="{714F8BCE-4C4B-7036-2CCE-8DED267F9CC6}"/>
              </a:ext>
            </a:extLst>
          </p:cNvPr>
          <p:cNvSpPr/>
          <p:nvPr/>
        </p:nvSpPr>
        <p:spPr>
          <a:xfrm>
            <a:off x="3944856" y="4902393"/>
            <a:ext cx="4106645" cy="82091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4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C8A449-0CC7-200B-9DAF-AC80E0F12AB5}"/>
              </a:ext>
            </a:extLst>
          </p:cNvPr>
          <p:cNvSpPr txBox="1"/>
          <p:nvPr/>
        </p:nvSpPr>
        <p:spPr>
          <a:xfrm>
            <a:off x="3935760" y="4941168"/>
            <a:ext cx="388388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корение работы по созданию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временной инфраструктуры для хранения и сбыта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сельхозпродукции </a:t>
            </a: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D45CD2DF-2A1D-7F98-D975-56A4BFD24072}"/>
              </a:ext>
            </a:extLst>
          </p:cNvPr>
          <p:cNvSpPr/>
          <p:nvPr/>
        </p:nvSpPr>
        <p:spPr>
          <a:xfrm>
            <a:off x="8727503" y="1904796"/>
            <a:ext cx="1368152" cy="695654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Транспорт </a:t>
            </a:r>
            <a:b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</a:b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и логистика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BA953C3-E10D-7D9B-AD56-205D29555D6B}"/>
              </a:ext>
            </a:extLst>
          </p:cNvPr>
          <p:cNvSpPr/>
          <p:nvPr/>
        </p:nvSpPr>
        <p:spPr>
          <a:xfrm>
            <a:off x="8718104" y="5026309"/>
            <a:ext cx="1368152" cy="850963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   Зеленые </a:t>
            </a:r>
            <a:b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</a:b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екты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ESG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A472F337-E65A-C26B-A3AE-21A3AA390CF6}"/>
              </a:ext>
            </a:extLst>
          </p:cNvPr>
          <p:cNvSpPr/>
          <p:nvPr/>
        </p:nvSpPr>
        <p:spPr>
          <a:xfrm>
            <a:off x="8718104" y="4336402"/>
            <a:ext cx="1368152" cy="577835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Технологии 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0CBAC9F5-98F4-8B8A-94B7-EFC3EE46F1CB}"/>
              </a:ext>
            </a:extLst>
          </p:cNvPr>
          <p:cNvSpPr/>
          <p:nvPr/>
        </p:nvSpPr>
        <p:spPr>
          <a:xfrm>
            <a:off x="8728922" y="2663661"/>
            <a:ext cx="1368152" cy="672814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Экспорт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FE461B51-01BE-BECA-76EF-EA4F0A765330}"/>
              </a:ext>
            </a:extLst>
          </p:cNvPr>
          <p:cNvSpPr/>
          <p:nvPr/>
        </p:nvSpPr>
        <p:spPr>
          <a:xfrm>
            <a:off x="8716241" y="3400298"/>
            <a:ext cx="1368152" cy="848086"/>
          </a:xfrm>
          <a:prstGeom prst="rect">
            <a:avLst/>
          </a:prstGeom>
          <a:solidFill>
            <a:srgbClr val="AE8705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80000" tIns="34591" rIns="51736" bIns="34591" numCol="1" spcCol="1270" anchor="ctr" anchorCtr="0">
            <a:noAutofit/>
          </a:bodyPr>
          <a:lstStyle/>
          <a:p>
            <a:pPr marL="0" marR="0" lvl="0" indent="0" algn="ctr" defTabSz="4000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д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. </a:t>
            </a:r>
            <a:b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</a:b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</a:rPr>
              <a:t>безопасность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2C3691DB-DD32-BF19-8E06-0404E6062DA8}"/>
              </a:ext>
            </a:extLst>
          </p:cNvPr>
          <p:cNvSpPr/>
          <p:nvPr/>
        </p:nvSpPr>
        <p:spPr>
          <a:xfrm>
            <a:off x="10082530" y="3403416"/>
            <a:ext cx="1937998" cy="843864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развитие инфраструктуры для сбыта и хранения сельхозпродукции</a:t>
            </a:r>
          </a:p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 Narrow" panose="020B0606020202030204" pitchFamily="34" charset="0"/>
              </a:rPr>
              <a:t>импортозамещение</a:t>
            </a:r>
            <a:endParaRPr kumimoji="0" lang="x-none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19C23D97-A65A-CECA-258F-A9BE173BB9B0}"/>
              </a:ext>
            </a:extLst>
          </p:cNvPr>
          <p:cNvSpPr/>
          <p:nvPr/>
        </p:nvSpPr>
        <p:spPr>
          <a:xfrm>
            <a:off x="10097074" y="2661656"/>
            <a:ext cx="1937998" cy="667027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поддержка 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экспортоориентированных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отраслей</a:t>
            </a:r>
          </a:p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lang="ru-RU" sz="1200" kern="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 Narrow" panose="020B0606020202030204" pitchFamily="34" charset="0"/>
              </a:rPr>
              <a:t>в обр. </a:t>
            </a:r>
            <a:r>
              <a:rPr lang="ru-RU" sz="1200" kern="0" dirty="0" err="1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latin typeface="Arial Narrow" panose="020B0606020202030204" pitchFamily="34" charset="0"/>
              </a:rPr>
              <a:t>промышл-ти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F63A7FC-9176-6043-496A-501516CD00DA}"/>
              </a:ext>
            </a:extLst>
          </p:cNvPr>
          <p:cNvSpPr/>
          <p:nvPr/>
        </p:nvSpPr>
        <p:spPr>
          <a:xfrm>
            <a:off x="10086256" y="4340967"/>
            <a:ext cx="1937998" cy="572864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3" rIns="261607" bIns="137782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в сферах ВИЭ </a:t>
            </a:r>
          </a:p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в обрабатывающей. промышленности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03994AB5-2A0C-00C2-1E9B-DFE61A0A1A08}"/>
              </a:ext>
            </a:extLst>
          </p:cNvPr>
          <p:cNvSpPr/>
          <p:nvPr/>
        </p:nvSpPr>
        <p:spPr>
          <a:xfrm>
            <a:off x="10086256" y="5026308"/>
            <a:ext cx="1937998" cy="850964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энергоэффективные проекты, ВИЭ</a:t>
            </a:r>
          </a:p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управление водными ресурсами,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упр.отходами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D3ECAFB5-1D2A-EEDB-549B-D35AC96ED02C}"/>
              </a:ext>
            </a:extLst>
          </p:cNvPr>
          <p:cNvSpPr/>
          <p:nvPr/>
        </p:nvSpPr>
        <p:spPr>
          <a:xfrm>
            <a:off x="10095655" y="1902792"/>
            <a:ext cx="1936186" cy="695654"/>
          </a:xfrm>
          <a:prstGeom prst="rect">
            <a:avLst/>
          </a:prstGeom>
          <a:solidFill>
            <a:srgbClr val="406D69">
              <a:lumMod val="20000"/>
              <a:lumOff val="80000"/>
              <a:alpha val="9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247651" tIns="137782" rIns="261607" bIns="137783" numCol="1" spcCol="1270" anchor="ctr" anchorCtr="0">
            <a:noAutofit/>
          </a:bodyPr>
          <a:lstStyle/>
          <a:p>
            <a:pPr marL="57150" marR="0" lvl="1" indent="-57150" defTabSz="3111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 Транскаспийский международный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трансп.маршрут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 Narrow" panose="020B0606020202030204" pitchFamily="34" charset="0"/>
              </a:rPr>
              <a:t>, Север-Юг</a:t>
            </a:r>
          </a:p>
        </p:txBody>
      </p:sp>
      <p:grpSp>
        <p:nvGrpSpPr>
          <p:cNvPr id="75" name="Google Shape;11105;p69">
            <a:extLst>
              <a:ext uri="{FF2B5EF4-FFF2-40B4-BE49-F238E27FC236}">
                <a16:creationId xmlns:a16="http://schemas.microsoft.com/office/drawing/2014/main" id="{CE6D4AEC-DCB5-0D03-2C3E-8A34F8F17386}"/>
              </a:ext>
            </a:extLst>
          </p:cNvPr>
          <p:cNvGrpSpPr/>
          <p:nvPr/>
        </p:nvGrpSpPr>
        <p:grpSpPr>
          <a:xfrm rot="19675441">
            <a:off x="8758707" y="1991003"/>
            <a:ext cx="301842" cy="197133"/>
            <a:chOff x="5206262" y="4174817"/>
            <a:chExt cx="397763" cy="262804"/>
          </a:xfrm>
          <a:solidFill>
            <a:srgbClr val="FFFFFF"/>
          </a:solidFill>
        </p:grpSpPr>
        <p:sp>
          <p:nvSpPr>
            <p:cNvPr id="76" name="Google Shape;11106;p69">
              <a:extLst>
                <a:ext uri="{FF2B5EF4-FFF2-40B4-BE49-F238E27FC236}">
                  <a16:creationId xmlns:a16="http://schemas.microsoft.com/office/drawing/2014/main" id="{249E43EE-2D35-BF4B-1D97-888C34569CB9}"/>
                </a:ext>
              </a:extLst>
            </p:cNvPr>
            <p:cNvSpPr/>
            <p:nvPr/>
          </p:nvSpPr>
          <p:spPr>
            <a:xfrm>
              <a:off x="5206262" y="4177104"/>
              <a:ext cx="397763" cy="260518"/>
            </a:xfrm>
            <a:custGeom>
              <a:avLst/>
              <a:gdLst/>
              <a:ahLst/>
              <a:cxnLst/>
              <a:rect l="l" t="t" r="r" b="b"/>
              <a:pathLst>
                <a:path w="12526" h="8204" extrusionOk="0">
                  <a:moveTo>
                    <a:pt x="3655" y="381"/>
                  </a:moveTo>
                  <a:cubicBezTo>
                    <a:pt x="3989" y="381"/>
                    <a:pt x="4298" y="500"/>
                    <a:pt x="4536" y="738"/>
                  </a:cubicBezTo>
                  <a:lnTo>
                    <a:pt x="7049" y="3120"/>
                  </a:lnTo>
                  <a:lnTo>
                    <a:pt x="5644" y="3120"/>
                  </a:lnTo>
                  <a:lnTo>
                    <a:pt x="3512" y="381"/>
                  </a:lnTo>
                  <a:close/>
                  <a:moveTo>
                    <a:pt x="10585" y="3477"/>
                  </a:moveTo>
                  <a:cubicBezTo>
                    <a:pt x="10882" y="3501"/>
                    <a:pt x="11156" y="3620"/>
                    <a:pt x="11382" y="3846"/>
                  </a:cubicBezTo>
                  <a:lnTo>
                    <a:pt x="11502" y="3965"/>
                  </a:lnTo>
                  <a:lnTo>
                    <a:pt x="10763" y="3965"/>
                  </a:lnTo>
                  <a:lnTo>
                    <a:pt x="10763" y="3953"/>
                  </a:lnTo>
                  <a:cubicBezTo>
                    <a:pt x="10656" y="3953"/>
                    <a:pt x="10585" y="3858"/>
                    <a:pt x="10585" y="3775"/>
                  </a:cubicBezTo>
                  <a:lnTo>
                    <a:pt x="10585" y="3477"/>
                  </a:lnTo>
                  <a:close/>
                  <a:moveTo>
                    <a:pt x="7906" y="4263"/>
                  </a:moveTo>
                  <a:lnTo>
                    <a:pt x="4536" y="7430"/>
                  </a:lnTo>
                  <a:cubicBezTo>
                    <a:pt x="4298" y="7656"/>
                    <a:pt x="3989" y="7787"/>
                    <a:pt x="3655" y="7787"/>
                  </a:cubicBezTo>
                  <a:lnTo>
                    <a:pt x="3512" y="7787"/>
                  </a:lnTo>
                  <a:lnTo>
                    <a:pt x="6263" y="4263"/>
                  </a:lnTo>
                  <a:close/>
                  <a:moveTo>
                    <a:pt x="3381" y="0"/>
                  </a:moveTo>
                  <a:cubicBezTo>
                    <a:pt x="3262" y="0"/>
                    <a:pt x="3155" y="60"/>
                    <a:pt x="3108" y="179"/>
                  </a:cubicBezTo>
                  <a:cubicBezTo>
                    <a:pt x="3060" y="286"/>
                    <a:pt x="3060" y="405"/>
                    <a:pt x="3143" y="512"/>
                  </a:cubicBezTo>
                  <a:lnTo>
                    <a:pt x="5167" y="3120"/>
                  </a:lnTo>
                  <a:lnTo>
                    <a:pt x="2512" y="3120"/>
                  </a:lnTo>
                  <a:cubicBezTo>
                    <a:pt x="2405" y="3120"/>
                    <a:pt x="2310" y="3060"/>
                    <a:pt x="2250" y="2965"/>
                  </a:cubicBezTo>
                  <a:lnTo>
                    <a:pt x="1429" y="1536"/>
                  </a:lnTo>
                  <a:cubicBezTo>
                    <a:pt x="1310" y="1334"/>
                    <a:pt x="1084" y="1215"/>
                    <a:pt x="845" y="1215"/>
                  </a:cubicBezTo>
                  <a:lnTo>
                    <a:pt x="310" y="1215"/>
                  </a:lnTo>
                  <a:cubicBezTo>
                    <a:pt x="143" y="1215"/>
                    <a:pt x="0" y="1346"/>
                    <a:pt x="0" y="1524"/>
                  </a:cubicBezTo>
                  <a:lnTo>
                    <a:pt x="0" y="4394"/>
                  </a:lnTo>
                  <a:cubicBezTo>
                    <a:pt x="0" y="4763"/>
                    <a:pt x="310" y="5084"/>
                    <a:pt x="679" y="5084"/>
                  </a:cubicBezTo>
                  <a:lnTo>
                    <a:pt x="2262" y="5084"/>
                  </a:lnTo>
                  <a:cubicBezTo>
                    <a:pt x="2369" y="5084"/>
                    <a:pt x="2441" y="4989"/>
                    <a:pt x="2441" y="4906"/>
                  </a:cubicBezTo>
                  <a:cubicBezTo>
                    <a:pt x="2441" y="4810"/>
                    <a:pt x="2346" y="4727"/>
                    <a:pt x="2262" y="4727"/>
                  </a:cubicBezTo>
                  <a:lnTo>
                    <a:pt x="679" y="4727"/>
                  </a:lnTo>
                  <a:cubicBezTo>
                    <a:pt x="500" y="4727"/>
                    <a:pt x="369" y="4572"/>
                    <a:pt x="369" y="4406"/>
                  </a:cubicBezTo>
                  <a:lnTo>
                    <a:pt x="369" y="1596"/>
                  </a:lnTo>
                  <a:lnTo>
                    <a:pt x="845" y="1596"/>
                  </a:lnTo>
                  <a:cubicBezTo>
                    <a:pt x="965" y="1596"/>
                    <a:pt x="1060" y="1655"/>
                    <a:pt x="1119" y="1750"/>
                  </a:cubicBezTo>
                  <a:lnTo>
                    <a:pt x="1929" y="3179"/>
                  </a:lnTo>
                  <a:cubicBezTo>
                    <a:pt x="2048" y="3382"/>
                    <a:pt x="2274" y="3513"/>
                    <a:pt x="2512" y="3513"/>
                  </a:cubicBezTo>
                  <a:lnTo>
                    <a:pt x="10192" y="3513"/>
                  </a:lnTo>
                  <a:lnTo>
                    <a:pt x="10192" y="3834"/>
                  </a:lnTo>
                  <a:cubicBezTo>
                    <a:pt x="10192" y="4132"/>
                    <a:pt x="10442" y="4382"/>
                    <a:pt x="10740" y="4382"/>
                  </a:cubicBezTo>
                  <a:lnTo>
                    <a:pt x="11835" y="4382"/>
                  </a:lnTo>
                  <a:lnTo>
                    <a:pt x="12049" y="4620"/>
                  </a:lnTo>
                  <a:cubicBezTo>
                    <a:pt x="12085" y="4644"/>
                    <a:pt x="12109" y="4703"/>
                    <a:pt x="12133" y="4751"/>
                  </a:cubicBezTo>
                  <a:lnTo>
                    <a:pt x="7942" y="4751"/>
                  </a:lnTo>
                  <a:lnTo>
                    <a:pt x="8454" y="4275"/>
                  </a:lnTo>
                  <a:cubicBezTo>
                    <a:pt x="8513" y="4227"/>
                    <a:pt x="8525" y="4144"/>
                    <a:pt x="8501" y="4072"/>
                  </a:cubicBezTo>
                  <a:cubicBezTo>
                    <a:pt x="8465" y="3989"/>
                    <a:pt x="8406" y="3953"/>
                    <a:pt x="8334" y="3953"/>
                  </a:cubicBezTo>
                  <a:lnTo>
                    <a:pt x="6203" y="3953"/>
                  </a:lnTo>
                  <a:cubicBezTo>
                    <a:pt x="6120" y="3953"/>
                    <a:pt x="6025" y="3989"/>
                    <a:pt x="5965" y="4072"/>
                  </a:cubicBezTo>
                  <a:lnTo>
                    <a:pt x="5441" y="4739"/>
                  </a:lnTo>
                  <a:lnTo>
                    <a:pt x="3120" y="4739"/>
                  </a:lnTo>
                  <a:cubicBezTo>
                    <a:pt x="3024" y="4739"/>
                    <a:pt x="2941" y="4822"/>
                    <a:pt x="2941" y="4918"/>
                  </a:cubicBezTo>
                  <a:cubicBezTo>
                    <a:pt x="2941" y="5001"/>
                    <a:pt x="3036" y="5096"/>
                    <a:pt x="3120" y="5096"/>
                  </a:cubicBezTo>
                  <a:lnTo>
                    <a:pt x="5167" y="5096"/>
                  </a:lnTo>
                  <a:lnTo>
                    <a:pt x="3143" y="7704"/>
                  </a:lnTo>
                  <a:cubicBezTo>
                    <a:pt x="3060" y="7787"/>
                    <a:pt x="3048" y="7918"/>
                    <a:pt x="3108" y="8025"/>
                  </a:cubicBezTo>
                  <a:cubicBezTo>
                    <a:pt x="3155" y="8132"/>
                    <a:pt x="3274" y="8204"/>
                    <a:pt x="3381" y="8204"/>
                  </a:cubicBezTo>
                  <a:lnTo>
                    <a:pt x="3643" y="8204"/>
                  </a:lnTo>
                  <a:cubicBezTo>
                    <a:pt x="4060" y="8204"/>
                    <a:pt x="4477" y="8037"/>
                    <a:pt x="4775" y="7763"/>
                  </a:cubicBezTo>
                  <a:lnTo>
                    <a:pt x="7572" y="5108"/>
                  </a:lnTo>
                  <a:lnTo>
                    <a:pt x="12252" y="5108"/>
                  </a:lnTo>
                  <a:cubicBezTo>
                    <a:pt x="12395" y="5108"/>
                    <a:pt x="12525" y="4989"/>
                    <a:pt x="12525" y="4822"/>
                  </a:cubicBezTo>
                  <a:cubicBezTo>
                    <a:pt x="12525" y="4584"/>
                    <a:pt x="12466" y="4406"/>
                    <a:pt x="12335" y="4286"/>
                  </a:cubicBezTo>
                  <a:lnTo>
                    <a:pt x="11621" y="3572"/>
                  </a:lnTo>
                  <a:cubicBezTo>
                    <a:pt x="11311" y="3263"/>
                    <a:pt x="10894" y="3096"/>
                    <a:pt x="10466" y="3096"/>
                  </a:cubicBezTo>
                  <a:lnTo>
                    <a:pt x="7572" y="3096"/>
                  </a:lnTo>
                  <a:lnTo>
                    <a:pt x="4775" y="453"/>
                  </a:lnTo>
                  <a:cubicBezTo>
                    <a:pt x="4465" y="155"/>
                    <a:pt x="4060" y="0"/>
                    <a:pt x="364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7" name="Google Shape;11107;p69">
              <a:extLst>
                <a:ext uri="{FF2B5EF4-FFF2-40B4-BE49-F238E27FC236}">
                  <a16:creationId xmlns:a16="http://schemas.microsoft.com/office/drawing/2014/main" id="{D145C188-9AB3-9A96-48BA-3A463A16A1B5}"/>
                </a:ext>
              </a:extLst>
            </p:cNvPr>
            <p:cNvSpPr/>
            <p:nvPr/>
          </p:nvSpPr>
          <p:spPr>
            <a:xfrm>
              <a:off x="5434231" y="4174817"/>
              <a:ext cx="167539" cy="70369"/>
            </a:xfrm>
            <a:custGeom>
              <a:avLst/>
              <a:gdLst/>
              <a:ahLst/>
              <a:cxnLst/>
              <a:rect l="l" t="t" r="r" b="b"/>
              <a:pathLst>
                <a:path w="5276" h="2216" extrusionOk="0">
                  <a:moveTo>
                    <a:pt x="2596" y="1"/>
                  </a:moveTo>
                  <a:cubicBezTo>
                    <a:pt x="1965" y="1"/>
                    <a:pt x="1417" y="418"/>
                    <a:pt x="1251" y="1013"/>
                  </a:cubicBezTo>
                  <a:cubicBezTo>
                    <a:pt x="1179" y="1001"/>
                    <a:pt x="1108" y="1001"/>
                    <a:pt x="1048" y="1001"/>
                  </a:cubicBezTo>
                  <a:cubicBezTo>
                    <a:pt x="465" y="1001"/>
                    <a:pt x="1" y="1465"/>
                    <a:pt x="1" y="2037"/>
                  </a:cubicBezTo>
                  <a:cubicBezTo>
                    <a:pt x="24" y="2132"/>
                    <a:pt x="96" y="2203"/>
                    <a:pt x="203" y="2203"/>
                  </a:cubicBezTo>
                  <a:lnTo>
                    <a:pt x="3358" y="2203"/>
                  </a:lnTo>
                  <a:cubicBezTo>
                    <a:pt x="3465" y="2203"/>
                    <a:pt x="3537" y="2120"/>
                    <a:pt x="3537" y="2025"/>
                  </a:cubicBezTo>
                  <a:cubicBezTo>
                    <a:pt x="3537" y="1918"/>
                    <a:pt x="3441" y="1846"/>
                    <a:pt x="3358" y="1846"/>
                  </a:cubicBezTo>
                  <a:lnTo>
                    <a:pt x="405" y="1846"/>
                  </a:lnTo>
                  <a:cubicBezTo>
                    <a:pt x="489" y="1561"/>
                    <a:pt x="751" y="1358"/>
                    <a:pt x="1048" y="1358"/>
                  </a:cubicBezTo>
                  <a:cubicBezTo>
                    <a:pt x="1144" y="1358"/>
                    <a:pt x="1239" y="1370"/>
                    <a:pt x="1334" y="1418"/>
                  </a:cubicBezTo>
                  <a:cubicBezTo>
                    <a:pt x="1359" y="1428"/>
                    <a:pt x="1384" y="1431"/>
                    <a:pt x="1409" y="1431"/>
                  </a:cubicBezTo>
                  <a:cubicBezTo>
                    <a:pt x="1442" y="1431"/>
                    <a:pt x="1473" y="1425"/>
                    <a:pt x="1501" y="1418"/>
                  </a:cubicBezTo>
                  <a:cubicBezTo>
                    <a:pt x="1536" y="1382"/>
                    <a:pt x="1584" y="1346"/>
                    <a:pt x="1584" y="1287"/>
                  </a:cubicBezTo>
                  <a:cubicBezTo>
                    <a:pt x="1644" y="763"/>
                    <a:pt x="2096" y="370"/>
                    <a:pt x="2608" y="370"/>
                  </a:cubicBezTo>
                  <a:cubicBezTo>
                    <a:pt x="3084" y="370"/>
                    <a:pt x="3489" y="691"/>
                    <a:pt x="3608" y="1144"/>
                  </a:cubicBezTo>
                  <a:cubicBezTo>
                    <a:pt x="3620" y="1191"/>
                    <a:pt x="3656" y="1239"/>
                    <a:pt x="3703" y="1263"/>
                  </a:cubicBezTo>
                  <a:cubicBezTo>
                    <a:pt x="3726" y="1286"/>
                    <a:pt x="3758" y="1294"/>
                    <a:pt x="3791" y="1294"/>
                  </a:cubicBezTo>
                  <a:cubicBezTo>
                    <a:pt x="3810" y="1294"/>
                    <a:pt x="3829" y="1291"/>
                    <a:pt x="3846" y="1287"/>
                  </a:cubicBezTo>
                  <a:cubicBezTo>
                    <a:pt x="3930" y="1251"/>
                    <a:pt x="4025" y="1239"/>
                    <a:pt x="4120" y="1239"/>
                  </a:cubicBezTo>
                  <a:cubicBezTo>
                    <a:pt x="4501" y="1239"/>
                    <a:pt x="4811" y="1501"/>
                    <a:pt x="4906" y="1858"/>
                  </a:cubicBezTo>
                  <a:lnTo>
                    <a:pt x="4215" y="1858"/>
                  </a:lnTo>
                  <a:cubicBezTo>
                    <a:pt x="4120" y="1858"/>
                    <a:pt x="4037" y="1953"/>
                    <a:pt x="4037" y="2037"/>
                  </a:cubicBezTo>
                  <a:cubicBezTo>
                    <a:pt x="4037" y="2132"/>
                    <a:pt x="4132" y="2215"/>
                    <a:pt x="4215" y="2215"/>
                  </a:cubicBezTo>
                  <a:lnTo>
                    <a:pt x="5096" y="2215"/>
                  </a:lnTo>
                  <a:cubicBezTo>
                    <a:pt x="5204" y="2215"/>
                    <a:pt x="5275" y="2132"/>
                    <a:pt x="5275" y="2037"/>
                  </a:cubicBezTo>
                  <a:cubicBezTo>
                    <a:pt x="5275" y="1406"/>
                    <a:pt x="4751" y="870"/>
                    <a:pt x="4096" y="870"/>
                  </a:cubicBezTo>
                  <a:cubicBezTo>
                    <a:pt x="4025" y="870"/>
                    <a:pt x="3965" y="870"/>
                    <a:pt x="3894" y="882"/>
                  </a:cubicBezTo>
                  <a:cubicBezTo>
                    <a:pt x="3680" y="358"/>
                    <a:pt x="3180" y="1"/>
                    <a:pt x="259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Google Shape;11108;p69">
              <a:extLst>
                <a:ext uri="{FF2B5EF4-FFF2-40B4-BE49-F238E27FC236}">
                  <a16:creationId xmlns:a16="http://schemas.microsoft.com/office/drawing/2014/main" id="{ACD956BB-8B0B-C100-E993-F76E8B3AF229}"/>
                </a:ext>
              </a:extLst>
            </p:cNvPr>
            <p:cNvSpPr/>
            <p:nvPr/>
          </p:nvSpPr>
          <p:spPr>
            <a:xfrm>
              <a:off x="536087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96" y="0"/>
                    <a:pt x="1" y="95"/>
                    <a:pt x="1" y="238"/>
                  </a:cubicBezTo>
                  <a:cubicBezTo>
                    <a:pt x="1" y="369"/>
                    <a:pt x="96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9" name="Google Shape;11109;p69">
              <a:extLst>
                <a:ext uri="{FF2B5EF4-FFF2-40B4-BE49-F238E27FC236}">
                  <a16:creationId xmlns:a16="http://schemas.microsoft.com/office/drawing/2014/main" id="{217FAEC1-A0C2-F583-175C-195C14BA1578}"/>
                </a:ext>
              </a:extLst>
            </p:cNvPr>
            <p:cNvSpPr/>
            <p:nvPr/>
          </p:nvSpPr>
          <p:spPr>
            <a:xfrm>
              <a:off x="5329503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9" y="0"/>
                  </a:moveTo>
                  <a:cubicBezTo>
                    <a:pt x="108" y="0"/>
                    <a:pt x="1" y="95"/>
                    <a:pt x="1" y="238"/>
                  </a:cubicBezTo>
                  <a:cubicBezTo>
                    <a:pt x="1" y="369"/>
                    <a:pt x="108" y="476"/>
                    <a:pt x="239" y="476"/>
                  </a:cubicBezTo>
                  <a:cubicBezTo>
                    <a:pt x="370" y="476"/>
                    <a:pt x="477" y="381"/>
                    <a:pt x="477" y="238"/>
                  </a:cubicBezTo>
                  <a:cubicBezTo>
                    <a:pt x="477" y="95"/>
                    <a:pt x="370" y="0"/>
                    <a:pt x="23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0" name="Google Shape;11110;p69">
              <a:extLst>
                <a:ext uri="{FF2B5EF4-FFF2-40B4-BE49-F238E27FC236}">
                  <a16:creationId xmlns:a16="http://schemas.microsoft.com/office/drawing/2014/main" id="{6310E045-34FB-4DE8-F67B-5F5AAB7ECB29}"/>
                </a:ext>
              </a:extLst>
            </p:cNvPr>
            <p:cNvSpPr/>
            <p:nvPr/>
          </p:nvSpPr>
          <p:spPr>
            <a:xfrm>
              <a:off x="5298511" y="4299202"/>
              <a:ext cx="14766" cy="15179"/>
            </a:xfrm>
            <a:custGeom>
              <a:avLst/>
              <a:gdLst/>
              <a:ahLst/>
              <a:cxnLst/>
              <a:rect l="l" t="t" r="r" b="b"/>
              <a:pathLst>
                <a:path w="465" h="478" extrusionOk="0">
                  <a:moveTo>
                    <a:pt x="238" y="1"/>
                  </a:moveTo>
                  <a:cubicBezTo>
                    <a:pt x="95" y="1"/>
                    <a:pt x="0" y="108"/>
                    <a:pt x="0" y="239"/>
                  </a:cubicBezTo>
                  <a:cubicBezTo>
                    <a:pt x="0" y="370"/>
                    <a:pt x="95" y="477"/>
                    <a:pt x="238" y="477"/>
                  </a:cubicBezTo>
                  <a:cubicBezTo>
                    <a:pt x="369" y="477"/>
                    <a:pt x="465" y="370"/>
                    <a:pt x="465" y="239"/>
                  </a:cubicBezTo>
                  <a:cubicBezTo>
                    <a:pt x="465" y="108"/>
                    <a:pt x="369" y="1"/>
                    <a:pt x="23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1" name="Google Shape;11111;p69">
              <a:extLst>
                <a:ext uri="{FF2B5EF4-FFF2-40B4-BE49-F238E27FC236}">
                  <a16:creationId xmlns:a16="http://schemas.microsoft.com/office/drawing/2014/main" id="{8FBF4446-8DCE-B840-587B-E46B6E868FE2}"/>
                </a:ext>
              </a:extLst>
            </p:cNvPr>
            <p:cNvSpPr/>
            <p:nvPr/>
          </p:nvSpPr>
          <p:spPr>
            <a:xfrm>
              <a:off x="5267137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69" y="476"/>
                    <a:pt x="476" y="369"/>
                    <a:pt x="476" y="238"/>
                  </a:cubicBezTo>
                  <a:cubicBezTo>
                    <a:pt x="476" y="95"/>
                    <a:pt x="369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Google Shape;11112;p69">
              <a:extLst>
                <a:ext uri="{FF2B5EF4-FFF2-40B4-BE49-F238E27FC236}">
                  <a16:creationId xmlns:a16="http://schemas.microsoft.com/office/drawing/2014/main" id="{2AEA7279-9DA6-5E41-057F-93FAB6ADA1F4}"/>
                </a:ext>
              </a:extLst>
            </p:cNvPr>
            <p:cNvSpPr/>
            <p:nvPr/>
          </p:nvSpPr>
          <p:spPr>
            <a:xfrm>
              <a:off x="5492470" y="4298852"/>
              <a:ext cx="15147" cy="15147"/>
            </a:xfrm>
            <a:custGeom>
              <a:avLst/>
              <a:gdLst/>
              <a:ahLst/>
              <a:cxnLst/>
              <a:rect l="l" t="t" r="r" b="b"/>
              <a:pathLst>
                <a:path w="477" h="477" extrusionOk="0">
                  <a:moveTo>
                    <a:pt x="238" y="0"/>
                  </a:moveTo>
                  <a:cubicBezTo>
                    <a:pt x="107" y="0"/>
                    <a:pt x="0" y="95"/>
                    <a:pt x="0" y="238"/>
                  </a:cubicBezTo>
                  <a:cubicBezTo>
                    <a:pt x="0" y="369"/>
                    <a:pt x="107" y="476"/>
                    <a:pt x="238" y="476"/>
                  </a:cubicBezTo>
                  <a:cubicBezTo>
                    <a:pt x="381" y="476"/>
                    <a:pt x="476" y="381"/>
                    <a:pt x="476" y="238"/>
                  </a:cubicBezTo>
                  <a:cubicBezTo>
                    <a:pt x="476" y="95"/>
                    <a:pt x="381" y="0"/>
                    <a:pt x="23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83" name="Google Shape;11294;p70">
            <a:extLst>
              <a:ext uri="{FF2B5EF4-FFF2-40B4-BE49-F238E27FC236}">
                <a16:creationId xmlns:a16="http://schemas.microsoft.com/office/drawing/2014/main" id="{9C632E12-8D95-B33B-5B80-A0F2738B12D8}"/>
              </a:ext>
            </a:extLst>
          </p:cNvPr>
          <p:cNvGrpSpPr/>
          <p:nvPr/>
        </p:nvGrpSpPr>
        <p:grpSpPr>
          <a:xfrm>
            <a:off x="8773527" y="4462044"/>
            <a:ext cx="228823" cy="280367"/>
            <a:chOff x="1284212" y="1963766"/>
            <a:chExt cx="379489" cy="366046"/>
          </a:xfrm>
          <a:solidFill>
            <a:srgbClr val="FFFFFF"/>
          </a:solidFill>
        </p:grpSpPr>
        <p:sp>
          <p:nvSpPr>
            <p:cNvPr id="84" name="Google Shape;11295;p70">
              <a:extLst>
                <a:ext uri="{FF2B5EF4-FFF2-40B4-BE49-F238E27FC236}">
                  <a16:creationId xmlns:a16="http://schemas.microsoft.com/office/drawing/2014/main" id="{2E1B7E6D-A0C9-709C-149C-FA3D34D1FA7E}"/>
                </a:ext>
              </a:extLst>
            </p:cNvPr>
            <p:cNvSpPr/>
            <p:nvPr/>
          </p:nvSpPr>
          <p:spPr>
            <a:xfrm>
              <a:off x="1436861" y="2112975"/>
              <a:ext cx="69444" cy="68902"/>
            </a:xfrm>
            <a:custGeom>
              <a:avLst/>
              <a:gdLst/>
              <a:ahLst/>
              <a:cxnLst/>
              <a:rect l="l" t="t" r="r" b="b"/>
              <a:pathLst>
                <a:path w="2180" h="2163" extrusionOk="0">
                  <a:moveTo>
                    <a:pt x="1086" y="1"/>
                  </a:moveTo>
                  <a:cubicBezTo>
                    <a:pt x="526" y="1"/>
                    <a:pt x="0" y="443"/>
                    <a:pt x="0" y="1079"/>
                  </a:cubicBezTo>
                  <a:cubicBezTo>
                    <a:pt x="0" y="1675"/>
                    <a:pt x="501" y="2163"/>
                    <a:pt x="1096" y="2163"/>
                  </a:cubicBezTo>
                  <a:cubicBezTo>
                    <a:pt x="1703" y="2163"/>
                    <a:pt x="2179" y="1675"/>
                    <a:pt x="2179" y="1079"/>
                  </a:cubicBezTo>
                  <a:cubicBezTo>
                    <a:pt x="2144" y="1020"/>
                    <a:pt x="2144" y="960"/>
                    <a:pt x="2132" y="889"/>
                  </a:cubicBezTo>
                  <a:cubicBezTo>
                    <a:pt x="2121" y="802"/>
                    <a:pt x="2040" y="744"/>
                    <a:pt x="1963" y="744"/>
                  </a:cubicBezTo>
                  <a:cubicBezTo>
                    <a:pt x="1955" y="744"/>
                    <a:pt x="1948" y="745"/>
                    <a:pt x="1941" y="746"/>
                  </a:cubicBezTo>
                  <a:cubicBezTo>
                    <a:pt x="1846" y="770"/>
                    <a:pt x="1786" y="853"/>
                    <a:pt x="1810" y="948"/>
                  </a:cubicBezTo>
                  <a:cubicBezTo>
                    <a:pt x="1883" y="1428"/>
                    <a:pt x="1488" y="1811"/>
                    <a:pt x="1059" y="1811"/>
                  </a:cubicBezTo>
                  <a:cubicBezTo>
                    <a:pt x="923" y="1811"/>
                    <a:pt x="784" y="1772"/>
                    <a:pt x="655" y="1687"/>
                  </a:cubicBezTo>
                  <a:cubicBezTo>
                    <a:pt x="48" y="1282"/>
                    <a:pt x="346" y="329"/>
                    <a:pt x="1072" y="329"/>
                  </a:cubicBezTo>
                  <a:cubicBezTo>
                    <a:pt x="1239" y="329"/>
                    <a:pt x="1405" y="389"/>
                    <a:pt x="1536" y="496"/>
                  </a:cubicBezTo>
                  <a:cubicBezTo>
                    <a:pt x="1567" y="522"/>
                    <a:pt x="1605" y="534"/>
                    <a:pt x="1642" y="534"/>
                  </a:cubicBezTo>
                  <a:cubicBezTo>
                    <a:pt x="1692" y="534"/>
                    <a:pt x="1741" y="513"/>
                    <a:pt x="1774" y="472"/>
                  </a:cubicBezTo>
                  <a:cubicBezTo>
                    <a:pt x="1834" y="389"/>
                    <a:pt x="1822" y="294"/>
                    <a:pt x="1751" y="234"/>
                  </a:cubicBezTo>
                  <a:cubicBezTo>
                    <a:pt x="1545" y="73"/>
                    <a:pt x="1313" y="1"/>
                    <a:pt x="108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7" name="Google Shape;11296;p70">
              <a:extLst>
                <a:ext uri="{FF2B5EF4-FFF2-40B4-BE49-F238E27FC236}">
                  <a16:creationId xmlns:a16="http://schemas.microsoft.com/office/drawing/2014/main" id="{67C1372F-CFD9-2235-49C2-EECE884C87A3}"/>
                </a:ext>
              </a:extLst>
            </p:cNvPr>
            <p:cNvSpPr/>
            <p:nvPr/>
          </p:nvSpPr>
          <p:spPr>
            <a:xfrm>
              <a:off x="1284212" y="1963766"/>
              <a:ext cx="379489" cy="366046"/>
            </a:xfrm>
            <a:custGeom>
              <a:avLst/>
              <a:gdLst/>
              <a:ahLst/>
              <a:cxnLst/>
              <a:rect l="l" t="t" r="r" b="b"/>
              <a:pathLst>
                <a:path w="11913" h="11491" extrusionOk="0">
                  <a:moveTo>
                    <a:pt x="1031" y="2185"/>
                  </a:moveTo>
                  <a:cubicBezTo>
                    <a:pt x="1151" y="2185"/>
                    <a:pt x="1275" y="2224"/>
                    <a:pt x="1387" y="2311"/>
                  </a:cubicBezTo>
                  <a:cubicBezTo>
                    <a:pt x="1625" y="2489"/>
                    <a:pt x="1673" y="2834"/>
                    <a:pt x="1506" y="3084"/>
                  </a:cubicBezTo>
                  <a:cubicBezTo>
                    <a:pt x="1389" y="3256"/>
                    <a:pt x="1207" y="3337"/>
                    <a:pt x="1026" y="3337"/>
                  </a:cubicBezTo>
                  <a:cubicBezTo>
                    <a:pt x="767" y="3337"/>
                    <a:pt x="510" y="3171"/>
                    <a:pt x="447" y="2870"/>
                  </a:cubicBezTo>
                  <a:cubicBezTo>
                    <a:pt x="376" y="2492"/>
                    <a:pt x="689" y="2185"/>
                    <a:pt x="1031" y="2185"/>
                  </a:cubicBezTo>
                  <a:close/>
                  <a:moveTo>
                    <a:pt x="4269" y="3025"/>
                  </a:moveTo>
                  <a:cubicBezTo>
                    <a:pt x="4364" y="3073"/>
                    <a:pt x="5435" y="3680"/>
                    <a:pt x="5519" y="3739"/>
                  </a:cubicBezTo>
                  <a:lnTo>
                    <a:pt x="4269" y="4454"/>
                  </a:lnTo>
                  <a:lnTo>
                    <a:pt x="4269" y="3025"/>
                  </a:lnTo>
                  <a:close/>
                  <a:moveTo>
                    <a:pt x="7448" y="3025"/>
                  </a:moveTo>
                  <a:lnTo>
                    <a:pt x="7448" y="4454"/>
                  </a:lnTo>
                  <a:lnTo>
                    <a:pt x="6197" y="3739"/>
                  </a:lnTo>
                  <a:lnTo>
                    <a:pt x="7448" y="3025"/>
                  </a:lnTo>
                  <a:close/>
                  <a:moveTo>
                    <a:pt x="2550" y="2268"/>
                  </a:moveTo>
                  <a:cubicBezTo>
                    <a:pt x="2817" y="2268"/>
                    <a:pt x="3085" y="2336"/>
                    <a:pt x="3328" y="2477"/>
                  </a:cubicBezTo>
                  <a:cubicBezTo>
                    <a:pt x="3697" y="2692"/>
                    <a:pt x="3566" y="2608"/>
                    <a:pt x="3935" y="2811"/>
                  </a:cubicBezTo>
                  <a:lnTo>
                    <a:pt x="3935" y="4644"/>
                  </a:lnTo>
                  <a:lnTo>
                    <a:pt x="2328" y="5573"/>
                  </a:lnTo>
                  <a:lnTo>
                    <a:pt x="1744" y="5240"/>
                  </a:lnTo>
                  <a:cubicBezTo>
                    <a:pt x="1375" y="5037"/>
                    <a:pt x="1125" y="4692"/>
                    <a:pt x="1006" y="4275"/>
                  </a:cubicBezTo>
                  <a:cubicBezTo>
                    <a:pt x="947" y="4085"/>
                    <a:pt x="923" y="3870"/>
                    <a:pt x="959" y="3680"/>
                  </a:cubicBezTo>
                  <a:lnTo>
                    <a:pt x="959" y="3680"/>
                  </a:lnTo>
                  <a:cubicBezTo>
                    <a:pt x="981" y="3681"/>
                    <a:pt x="1003" y="3682"/>
                    <a:pt x="1025" y="3682"/>
                  </a:cubicBezTo>
                  <a:cubicBezTo>
                    <a:pt x="1659" y="3682"/>
                    <a:pt x="2129" y="3028"/>
                    <a:pt x="1875" y="2418"/>
                  </a:cubicBezTo>
                  <a:cubicBezTo>
                    <a:pt x="2090" y="2319"/>
                    <a:pt x="2320" y="2268"/>
                    <a:pt x="2550" y="2268"/>
                  </a:cubicBezTo>
                  <a:close/>
                  <a:moveTo>
                    <a:pt x="9186" y="2275"/>
                  </a:moveTo>
                  <a:cubicBezTo>
                    <a:pt x="10067" y="2275"/>
                    <a:pt x="10781" y="2977"/>
                    <a:pt x="10781" y="3858"/>
                  </a:cubicBezTo>
                  <a:cubicBezTo>
                    <a:pt x="10781" y="4418"/>
                    <a:pt x="10460" y="4954"/>
                    <a:pt x="9972" y="5240"/>
                  </a:cubicBezTo>
                  <a:lnTo>
                    <a:pt x="9400" y="5573"/>
                  </a:lnTo>
                  <a:cubicBezTo>
                    <a:pt x="9186" y="5454"/>
                    <a:pt x="7983" y="4751"/>
                    <a:pt x="7793" y="4644"/>
                  </a:cubicBezTo>
                  <a:lnTo>
                    <a:pt x="7793" y="2834"/>
                  </a:lnTo>
                  <a:cubicBezTo>
                    <a:pt x="8245" y="2596"/>
                    <a:pt x="8567" y="2275"/>
                    <a:pt x="9186" y="2275"/>
                  </a:cubicBezTo>
                  <a:close/>
                  <a:moveTo>
                    <a:pt x="3935" y="5013"/>
                  </a:moveTo>
                  <a:lnTo>
                    <a:pt x="3935" y="6478"/>
                  </a:lnTo>
                  <a:lnTo>
                    <a:pt x="2673" y="5751"/>
                  </a:lnTo>
                  <a:lnTo>
                    <a:pt x="3935" y="5013"/>
                  </a:lnTo>
                  <a:close/>
                  <a:moveTo>
                    <a:pt x="7793" y="5037"/>
                  </a:moveTo>
                  <a:cubicBezTo>
                    <a:pt x="7948" y="5120"/>
                    <a:pt x="8900" y="5668"/>
                    <a:pt x="9055" y="5763"/>
                  </a:cubicBezTo>
                  <a:lnTo>
                    <a:pt x="7793" y="6490"/>
                  </a:lnTo>
                  <a:lnTo>
                    <a:pt x="7793" y="5037"/>
                  </a:lnTo>
                  <a:close/>
                  <a:moveTo>
                    <a:pt x="5852" y="3918"/>
                  </a:moveTo>
                  <a:lnTo>
                    <a:pt x="7448" y="4823"/>
                  </a:lnTo>
                  <a:lnTo>
                    <a:pt x="7448" y="6668"/>
                  </a:lnTo>
                  <a:lnTo>
                    <a:pt x="5852" y="7573"/>
                  </a:lnTo>
                  <a:lnTo>
                    <a:pt x="4257" y="6668"/>
                  </a:lnTo>
                  <a:lnTo>
                    <a:pt x="4257" y="4823"/>
                  </a:lnTo>
                  <a:lnTo>
                    <a:pt x="5852" y="3918"/>
                  </a:lnTo>
                  <a:close/>
                  <a:moveTo>
                    <a:pt x="7448" y="7061"/>
                  </a:moveTo>
                  <a:lnTo>
                    <a:pt x="7448" y="8490"/>
                  </a:lnTo>
                  <a:cubicBezTo>
                    <a:pt x="7352" y="8442"/>
                    <a:pt x="6281" y="7835"/>
                    <a:pt x="6197" y="7776"/>
                  </a:cubicBezTo>
                  <a:lnTo>
                    <a:pt x="7448" y="7061"/>
                  </a:lnTo>
                  <a:close/>
                  <a:moveTo>
                    <a:pt x="4269" y="7073"/>
                  </a:moveTo>
                  <a:lnTo>
                    <a:pt x="5519" y="7787"/>
                  </a:lnTo>
                  <a:lnTo>
                    <a:pt x="4269" y="8502"/>
                  </a:lnTo>
                  <a:lnTo>
                    <a:pt x="4269" y="7073"/>
                  </a:lnTo>
                  <a:close/>
                  <a:moveTo>
                    <a:pt x="9376" y="5954"/>
                  </a:moveTo>
                  <a:lnTo>
                    <a:pt x="9960" y="6287"/>
                  </a:lnTo>
                  <a:cubicBezTo>
                    <a:pt x="10329" y="6490"/>
                    <a:pt x="10579" y="6835"/>
                    <a:pt x="10710" y="7252"/>
                  </a:cubicBezTo>
                  <a:cubicBezTo>
                    <a:pt x="10746" y="7430"/>
                    <a:pt x="10757" y="7609"/>
                    <a:pt x="10757" y="7787"/>
                  </a:cubicBezTo>
                  <a:cubicBezTo>
                    <a:pt x="10736" y="7786"/>
                    <a:pt x="10714" y="7785"/>
                    <a:pt x="10693" y="7785"/>
                  </a:cubicBezTo>
                  <a:cubicBezTo>
                    <a:pt x="10049" y="7785"/>
                    <a:pt x="9612" y="8474"/>
                    <a:pt x="9888" y="9085"/>
                  </a:cubicBezTo>
                  <a:cubicBezTo>
                    <a:pt x="9662" y="9190"/>
                    <a:pt x="9412" y="9249"/>
                    <a:pt x="9161" y="9249"/>
                  </a:cubicBezTo>
                  <a:cubicBezTo>
                    <a:pt x="8898" y="9249"/>
                    <a:pt x="8632" y="9184"/>
                    <a:pt x="8388" y="9038"/>
                  </a:cubicBezTo>
                  <a:cubicBezTo>
                    <a:pt x="8007" y="8811"/>
                    <a:pt x="8138" y="8907"/>
                    <a:pt x="7769" y="8692"/>
                  </a:cubicBezTo>
                  <a:lnTo>
                    <a:pt x="7769" y="6883"/>
                  </a:lnTo>
                  <a:lnTo>
                    <a:pt x="9376" y="5954"/>
                  </a:lnTo>
                  <a:close/>
                  <a:moveTo>
                    <a:pt x="10731" y="8111"/>
                  </a:moveTo>
                  <a:cubicBezTo>
                    <a:pt x="10841" y="8111"/>
                    <a:pt x="10950" y="8142"/>
                    <a:pt x="11043" y="8204"/>
                  </a:cubicBezTo>
                  <a:cubicBezTo>
                    <a:pt x="11484" y="8502"/>
                    <a:pt x="11329" y="9157"/>
                    <a:pt x="10841" y="9264"/>
                  </a:cubicBezTo>
                  <a:cubicBezTo>
                    <a:pt x="10802" y="9271"/>
                    <a:pt x="10764" y="9275"/>
                    <a:pt x="10726" y="9275"/>
                  </a:cubicBezTo>
                  <a:cubicBezTo>
                    <a:pt x="10276" y="9275"/>
                    <a:pt x="9982" y="8767"/>
                    <a:pt x="10246" y="8371"/>
                  </a:cubicBezTo>
                  <a:cubicBezTo>
                    <a:pt x="10358" y="8199"/>
                    <a:pt x="10545" y="8111"/>
                    <a:pt x="10731" y="8111"/>
                  </a:cubicBezTo>
                  <a:close/>
                  <a:moveTo>
                    <a:pt x="5852" y="7978"/>
                  </a:moveTo>
                  <a:cubicBezTo>
                    <a:pt x="6043" y="8097"/>
                    <a:pt x="7233" y="8764"/>
                    <a:pt x="7448" y="8883"/>
                  </a:cubicBezTo>
                  <a:lnTo>
                    <a:pt x="7448" y="9585"/>
                  </a:lnTo>
                  <a:cubicBezTo>
                    <a:pt x="7448" y="10466"/>
                    <a:pt x="6733" y="11181"/>
                    <a:pt x="5852" y="11181"/>
                  </a:cubicBezTo>
                  <a:cubicBezTo>
                    <a:pt x="4971" y="11181"/>
                    <a:pt x="4257" y="10466"/>
                    <a:pt x="4257" y="9585"/>
                  </a:cubicBezTo>
                  <a:lnTo>
                    <a:pt x="4257" y="8883"/>
                  </a:lnTo>
                  <a:lnTo>
                    <a:pt x="5852" y="7978"/>
                  </a:lnTo>
                  <a:close/>
                  <a:moveTo>
                    <a:pt x="5852" y="1"/>
                  </a:moveTo>
                  <a:cubicBezTo>
                    <a:pt x="4792" y="1"/>
                    <a:pt x="3935" y="870"/>
                    <a:pt x="3935" y="1918"/>
                  </a:cubicBezTo>
                  <a:lnTo>
                    <a:pt x="3935" y="2430"/>
                  </a:lnTo>
                  <a:cubicBezTo>
                    <a:pt x="3649" y="2263"/>
                    <a:pt x="3757" y="2322"/>
                    <a:pt x="3483" y="2180"/>
                  </a:cubicBezTo>
                  <a:cubicBezTo>
                    <a:pt x="3183" y="2005"/>
                    <a:pt x="2854" y="1922"/>
                    <a:pt x="2529" y="1922"/>
                  </a:cubicBezTo>
                  <a:cubicBezTo>
                    <a:pt x="2235" y="1922"/>
                    <a:pt x="1945" y="1990"/>
                    <a:pt x="1685" y="2120"/>
                  </a:cubicBezTo>
                  <a:cubicBezTo>
                    <a:pt x="1491" y="1915"/>
                    <a:pt x="1256" y="1827"/>
                    <a:pt x="1027" y="1827"/>
                  </a:cubicBezTo>
                  <a:cubicBezTo>
                    <a:pt x="497" y="1827"/>
                    <a:pt x="0" y="2303"/>
                    <a:pt x="125" y="2918"/>
                  </a:cubicBezTo>
                  <a:cubicBezTo>
                    <a:pt x="185" y="3215"/>
                    <a:pt x="375" y="3454"/>
                    <a:pt x="625" y="3573"/>
                  </a:cubicBezTo>
                  <a:cubicBezTo>
                    <a:pt x="530" y="4335"/>
                    <a:pt x="887" y="5109"/>
                    <a:pt x="1578" y="5501"/>
                  </a:cubicBezTo>
                  <a:cubicBezTo>
                    <a:pt x="1816" y="5644"/>
                    <a:pt x="1744" y="5597"/>
                    <a:pt x="1983" y="5728"/>
                  </a:cubicBezTo>
                  <a:lnTo>
                    <a:pt x="1578" y="5954"/>
                  </a:lnTo>
                  <a:cubicBezTo>
                    <a:pt x="982" y="6299"/>
                    <a:pt x="613" y="6942"/>
                    <a:pt x="613" y="7633"/>
                  </a:cubicBezTo>
                  <a:cubicBezTo>
                    <a:pt x="613" y="8633"/>
                    <a:pt x="1375" y="9466"/>
                    <a:pt x="2375" y="9538"/>
                  </a:cubicBezTo>
                  <a:lnTo>
                    <a:pt x="2387" y="9538"/>
                  </a:lnTo>
                  <a:cubicBezTo>
                    <a:pt x="2471" y="9538"/>
                    <a:pt x="2554" y="9478"/>
                    <a:pt x="2554" y="9395"/>
                  </a:cubicBezTo>
                  <a:cubicBezTo>
                    <a:pt x="2566" y="9300"/>
                    <a:pt x="2495" y="9216"/>
                    <a:pt x="2399" y="9216"/>
                  </a:cubicBezTo>
                  <a:cubicBezTo>
                    <a:pt x="1578" y="9145"/>
                    <a:pt x="959" y="8454"/>
                    <a:pt x="959" y="7633"/>
                  </a:cubicBezTo>
                  <a:cubicBezTo>
                    <a:pt x="959" y="7073"/>
                    <a:pt x="1268" y="6537"/>
                    <a:pt x="1756" y="6252"/>
                  </a:cubicBezTo>
                  <a:lnTo>
                    <a:pt x="2340" y="5918"/>
                  </a:lnTo>
                  <a:lnTo>
                    <a:pt x="3947" y="6847"/>
                  </a:lnTo>
                  <a:lnTo>
                    <a:pt x="3947" y="8657"/>
                  </a:lnTo>
                  <a:cubicBezTo>
                    <a:pt x="3411" y="8954"/>
                    <a:pt x="3280" y="9061"/>
                    <a:pt x="3030" y="9157"/>
                  </a:cubicBezTo>
                  <a:cubicBezTo>
                    <a:pt x="2935" y="9180"/>
                    <a:pt x="2887" y="9276"/>
                    <a:pt x="2911" y="9359"/>
                  </a:cubicBezTo>
                  <a:cubicBezTo>
                    <a:pt x="2932" y="9443"/>
                    <a:pt x="3008" y="9480"/>
                    <a:pt x="3082" y="9480"/>
                  </a:cubicBezTo>
                  <a:cubicBezTo>
                    <a:pt x="3093" y="9480"/>
                    <a:pt x="3103" y="9480"/>
                    <a:pt x="3114" y="9478"/>
                  </a:cubicBezTo>
                  <a:cubicBezTo>
                    <a:pt x="3423" y="9395"/>
                    <a:pt x="3578" y="9252"/>
                    <a:pt x="3947" y="9061"/>
                  </a:cubicBezTo>
                  <a:lnTo>
                    <a:pt x="3947" y="9573"/>
                  </a:lnTo>
                  <a:cubicBezTo>
                    <a:pt x="3947" y="10621"/>
                    <a:pt x="4816" y="11490"/>
                    <a:pt x="5864" y="11490"/>
                  </a:cubicBezTo>
                  <a:cubicBezTo>
                    <a:pt x="6924" y="11490"/>
                    <a:pt x="7793" y="10621"/>
                    <a:pt x="7793" y="9573"/>
                  </a:cubicBezTo>
                  <a:lnTo>
                    <a:pt x="7793" y="9085"/>
                  </a:lnTo>
                  <a:cubicBezTo>
                    <a:pt x="8269" y="9347"/>
                    <a:pt x="8591" y="9585"/>
                    <a:pt x="9186" y="9585"/>
                  </a:cubicBezTo>
                  <a:cubicBezTo>
                    <a:pt x="9495" y="9585"/>
                    <a:pt x="9829" y="9514"/>
                    <a:pt x="10115" y="9359"/>
                  </a:cubicBezTo>
                  <a:cubicBezTo>
                    <a:pt x="10277" y="9521"/>
                    <a:pt x="10500" y="9615"/>
                    <a:pt x="10736" y="9615"/>
                  </a:cubicBezTo>
                  <a:cubicBezTo>
                    <a:pt x="10794" y="9615"/>
                    <a:pt x="10853" y="9609"/>
                    <a:pt x="10912" y="9597"/>
                  </a:cubicBezTo>
                  <a:cubicBezTo>
                    <a:pt x="11781" y="9419"/>
                    <a:pt x="11912" y="8216"/>
                    <a:pt x="11091" y="7847"/>
                  </a:cubicBezTo>
                  <a:cubicBezTo>
                    <a:pt x="11162" y="7121"/>
                    <a:pt x="10805" y="6371"/>
                    <a:pt x="10138" y="5990"/>
                  </a:cubicBezTo>
                  <a:cubicBezTo>
                    <a:pt x="9900" y="5847"/>
                    <a:pt x="9972" y="5894"/>
                    <a:pt x="9734" y="5763"/>
                  </a:cubicBezTo>
                  <a:lnTo>
                    <a:pt x="10138" y="5537"/>
                  </a:lnTo>
                  <a:cubicBezTo>
                    <a:pt x="11067" y="5013"/>
                    <a:pt x="11377" y="3823"/>
                    <a:pt x="10853" y="2906"/>
                  </a:cubicBezTo>
                  <a:cubicBezTo>
                    <a:pt x="10507" y="2311"/>
                    <a:pt x="9876" y="1941"/>
                    <a:pt x="9174" y="1941"/>
                  </a:cubicBezTo>
                  <a:cubicBezTo>
                    <a:pt x="8471" y="1941"/>
                    <a:pt x="8067" y="2311"/>
                    <a:pt x="7769" y="2442"/>
                  </a:cubicBezTo>
                  <a:cubicBezTo>
                    <a:pt x="7757" y="2025"/>
                    <a:pt x="7805" y="1834"/>
                    <a:pt x="7733" y="1525"/>
                  </a:cubicBezTo>
                  <a:cubicBezTo>
                    <a:pt x="7711" y="1438"/>
                    <a:pt x="7640" y="1380"/>
                    <a:pt x="7546" y="1380"/>
                  </a:cubicBezTo>
                  <a:cubicBezTo>
                    <a:pt x="7537" y="1380"/>
                    <a:pt x="7528" y="1381"/>
                    <a:pt x="7519" y="1382"/>
                  </a:cubicBezTo>
                  <a:cubicBezTo>
                    <a:pt x="7436" y="1406"/>
                    <a:pt x="7376" y="1489"/>
                    <a:pt x="7388" y="1596"/>
                  </a:cubicBezTo>
                  <a:cubicBezTo>
                    <a:pt x="7448" y="1858"/>
                    <a:pt x="7412" y="2013"/>
                    <a:pt x="7436" y="2632"/>
                  </a:cubicBezTo>
                  <a:lnTo>
                    <a:pt x="5840" y="3549"/>
                  </a:lnTo>
                  <a:lnTo>
                    <a:pt x="4245" y="2632"/>
                  </a:lnTo>
                  <a:lnTo>
                    <a:pt x="4245" y="1941"/>
                  </a:lnTo>
                  <a:cubicBezTo>
                    <a:pt x="4245" y="1060"/>
                    <a:pt x="4959" y="346"/>
                    <a:pt x="5840" y="346"/>
                  </a:cubicBezTo>
                  <a:cubicBezTo>
                    <a:pt x="6364" y="346"/>
                    <a:pt x="6840" y="596"/>
                    <a:pt x="7150" y="1025"/>
                  </a:cubicBezTo>
                  <a:cubicBezTo>
                    <a:pt x="7186" y="1076"/>
                    <a:pt x="7241" y="1100"/>
                    <a:pt x="7294" y="1100"/>
                  </a:cubicBezTo>
                  <a:cubicBezTo>
                    <a:pt x="7328" y="1100"/>
                    <a:pt x="7360" y="1091"/>
                    <a:pt x="7388" y="1072"/>
                  </a:cubicBezTo>
                  <a:cubicBezTo>
                    <a:pt x="7459" y="1013"/>
                    <a:pt x="7471" y="906"/>
                    <a:pt x="7436" y="834"/>
                  </a:cubicBezTo>
                  <a:cubicBezTo>
                    <a:pt x="7078" y="310"/>
                    <a:pt x="6483" y="1"/>
                    <a:pt x="5852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98" name="Google Shape;10856;p69">
            <a:extLst>
              <a:ext uri="{FF2B5EF4-FFF2-40B4-BE49-F238E27FC236}">
                <a16:creationId xmlns:a16="http://schemas.microsoft.com/office/drawing/2014/main" id="{E55BDB39-52EA-297B-84B9-D052C3D5C176}"/>
              </a:ext>
            </a:extLst>
          </p:cNvPr>
          <p:cNvGrpSpPr/>
          <p:nvPr/>
        </p:nvGrpSpPr>
        <p:grpSpPr>
          <a:xfrm>
            <a:off x="8760296" y="3616322"/>
            <a:ext cx="236047" cy="370776"/>
            <a:chOff x="3079916" y="2744477"/>
            <a:chExt cx="332729" cy="372518"/>
          </a:xfrm>
        </p:grpSpPr>
        <p:sp>
          <p:nvSpPr>
            <p:cNvPr id="99" name="Google Shape;10857;p69">
              <a:extLst>
                <a:ext uri="{FF2B5EF4-FFF2-40B4-BE49-F238E27FC236}">
                  <a16:creationId xmlns:a16="http://schemas.microsoft.com/office/drawing/2014/main" id="{7B7A69F2-2636-00B4-8A89-11FCFF244AFC}"/>
                </a:ext>
              </a:extLst>
            </p:cNvPr>
            <p:cNvSpPr/>
            <p:nvPr/>
          </p:nvSpPr>
          <p:spPr>
            <a:xfrm>
              <a:off x="3079916" y="2840504"/>
              <a:ext cx="313454" cy="276491"/>
            </a:xfrm>
            <a:custGeom>
              <a:avLst/>
              <a:gdLst/>
              <a:ahLst/>
              <a:cxnLst/>
              <a:rect l="l" t="t" r="r" b="b"/>
              <a:pathLst>
                <a:path w="9871" h="8707" extrusionOk="0">
                  <a:moveTo>
                    <a:pt x="2993" y="1"/>
                  </a:moveTo>
                  <a:cubicBezTo>
                    <a:pt x="2768" y="1"/>
                    <a:pt x="2560" y="25"/>
                    <a:pt x="2370" y="74"/>
                  </a:cubicBezTo>
                  <a:cubicBezTo>
                    <a:pt x="1739" y="241"/>
                    <a:pt x="1179" y="646"/>
                    <a:pt x="750" y="1205"/>
                  </a:cubicBezTo>
                  <a:cubicBezTo>
                    <a:pt x="250" y="1860"/>
                    <a:pt x="0" y="2694"/>
                    <a:pt x="0" y="3622"/>
                  </a:cubicBezTo>
                  <a:cubicBezTo>
                    <a:pt x="0" y="4575"/>
                    <a:pt x="429" y="5825"/>
                    <a:pt x="1120" y="6896"/>
                  </a:cubicBezTo>
                  <a:cubicBezTo>
                    <a:pt x="1882" y="8039"/>
                    <a:pt x="2751" y="8706"/>
                    <a:pt x="3525" y="8706"/>
                  </a:cubicBezTo>
                  <a:cubicBezTo>
                    <a:pt x="3846" y="8706"/>
                    <a:pt x="4156" y="8670"/>
                    <a:pt x="4441" y="8575"/>
                  </a:cubicBezTo>
                  <a:cubicBezTo>
                    <a:pt x="4596" y="8534"/>
                    <a:pt x="4760" y="8513"/>
                    <a:pt x="4924" y="8513"/>
                  </a:cubicBezTo>
                  <a:cubicBezTo>
                    <a:pt x="5087" y="8513"/>
                    <a:pt x="5251" y="8534"/>
                    <a:pt x="5406" y="8575"/>
                  </a:cubicBezTo>
                  <a:cubicBezTo>
                    <a:pt x="5703" y="8670"/>
                    <a:pt x="6013" y="8706"/>
                    <a:pt x="6311" y="8706"/>
                  </a:cubicBezTo>
                  <a:cubicBezTo>
                    <a:pt x="7085" y="8706"/>
                    <a:pt x="7978" y="8051"/>
                    <a:pt x="8728" y="6896"/>
                  </a:cubicBezTo>
                  <a:cubicBezTo>
                    <a:pt x="9418" y="5837"/>
                    <a:pt x="9835" y="4587"/>
                    <a:pt x="9835" y="3622"/>
                  </a:cubicBezTo>
                  <a:cubicBezTo>
                    <a:pt x="9871" y="2920"/>
                    <a:pt x="9716" y="2301"/>
                    <a:pt x="9454" y="1753"/>
                  </a:cubicBezTo>
                  <a:cubicBezTo>
                    <a:pt x="9420" y="1677"/>
                    <a:pt x="9351" y="1637"/>
                    <a:pt x="9275" y="1637"/>
                  </a:cubicBezTo>
                  <a:cubicBezTo>
                    <a:pt x="9244" y="1637"/>
                    <a:pt x="9211" y="1644"/>
                    <a:pt x="9180" y="1658"/>
                  </a:cubicBezTo>
                  <a:cubicBezTo>
                    <a:pt x="9085" y="1705"/>
                    <a:pt x="9049" y="1824"/>
                    <a:pt x="9097" y="1932"/>
                  </a:cubicBezTo>
                  <a:cubicBezTo>
                    <a:pt x="9347" y="2420"/>
                    <a:pt x="9466" y="3003"/>
                    <a:pt x="9466" y="3622"/>
                  </a:cubicBezTo>
                  <a:cubicBezTo>
                    <a:pt x="9466" y="4503"/>
                    <a:pt x="9061" y="5682"/>
                    <a:pt x="8406" y="6670"/>
                  </a:cubicBezTo>
                  <a:cubicBezTo>
                    <a:pt x="7739" y="7694"/>
                    <a:pt x="6966" y="8313"/>
                    <a:pt x="6323" y="8313"/>
                  </a:cubicBezTo>
                  <a:cubicBezTo>
                    <a:pt x="6061" y="8313"/>
                    <a:pt x="5775" y="8266"/>
                    <a:pt x="5525" y="8194"/>
                  </a:cubicBezTo>
                  <a:cubicBezTo>
                    <a:pt x="5328" y="8135"/>
                    <a:pt x="5126" y="8105"/>
                    <a:pt x="4925" y="8105"/>
                  </a:cubicBezTo>
                  <a:cubicBezTo>
                    <a:pt x="4724" y="8105"/>
                    <a:pt x="4525" y="8135"/>
                    <a:pt x="4334" y="8194"/>
                  </a:cubicBezTo>
                  <a:cubicBezTo>
                    <a:pt x="4084" y="8266"/>
                    <a:pt x="3798" y="8313"/>
                    <a:pt x="3525" y="8313"/>
                  </a:cubicBezTo>
                  <a:cubicBezTo>
                    <a:pt x="2894" y="8313"/>
                    <a:pt x="2120" y="7694"/>
                    <a:pt x="1441" y="6670"/>
                  </a:cubicBezTo>
                  <a:cubicBezTo>
                    <a:pt x="786" y="5682"/>
                    <a:pt x="393" y="4503"/>
                    <a:pt x="393" y="3622"/>
                  </a:cubicBezTo>
                  <a:cubicBezTo>
                    <a:pt x="393" y="2789"/>
                    <a:pt x="631" y="2039"/>
                    <a:pt x="1060" y="1443"/>
                  </a:cubicBezTo>
                  <a:cubicBezTo>
                    <a:pt x="1429" y="955"/>
                    <a:pt x="1941" y="598"/>
                    <a:pt x="2453" y="467"/>
                  </a:cubicBezTo>
                  <a:cubicBezTo>
                    <a:pt x="2608" y="425"/>
                    <a:pt x="2783" y="405"/>
                    <a:pt x="2975" y="405"/>
                  </a:cubicBezTo>
                  <a:cubicBezTo>
                    <a:pt x="3270" y="405"/>
                    <a:pt x="3605" y="452"/>
                    <a:pt x="3965" y="539"/>
                  </a:cubicBezTo>
                  <a:cubicBezTo>
                    <a:pt x="4025" y="550"/>
                    <a:pt x="4096" y="574"/>
                    <a:pt x="4156" y="586"/>
                  </a:cubicBezTo>
                  <a:cubicBezTo>
                    <a:pt x="4165" y="587"/>
                    <a:pt x="4174" y="588"/>
                    <a:pt x="4183" y="588"/>
                  </a:cubicBezTo>
                  <a:cubicBezTo>
                    <a:pt x="4278" y="588"/>
                    <a:pt x="4361" y="529"/>
                    <a:pt x="4394" y="431"/>
                  </a:cubicBezTo>
                  <a:cubicBezTo>
                    <a:pt x="4406" y="336"/>
                    <a:pt x="4346" y="229"/>
                    <a:pt x="4239" y="193"/>
                  </a:cubicBezTo>
                  <a:lnTo>
                    <a:pt x="4060" y="158"/>
                  </a:lnTo>
                  <a:cubicBezTo>
                    <a:pt x="3674" y="52"/>
                    <a:pt x="3316" y="1"/>
                    <a:pt x="299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00" name="Google Shape;10858;p69">
              <a:extLst>
                <a:ext uri="{FF2B5EF4-FFF2-40B4-BE49-F238E27FC236}">
                  <a16:creationId xmlns:a16="http://schemas.microsoft.com/office/drawing/2014/main" id="{21B79721-4ECB-7ADB-8251-D5FF25F56A23}"/>
                </a:ext>
              </a:extLst>
            </p:cNvPr>
            <p:cNvSpPr/>
            <p:nvPr/>
          </p:nvSpPr>
          <p:spPr>
            <a:xfrm>
              <a:off x="3244375" y="2840250"/>
              <a:ext cx="124416" cy="45727"/>
            </a:xfrm>
            <a:custGeom>
              <a:avLst/>
              <a:gdLst/>
              <a:ahLst/>
              <a:cxnLst/>
              <a:rect l="l" t="t" r="r" b="b"/>
              <a:pathLst>
                <a:path w="3918" h="1440" extrusionOk="0">
                  <a:moveTo>
                    <a:pt x="1721" y="0"/>
                  </a:moveTo>
                  <a:cubicBezTo>
                    <a:pt x="1391" y="0"/>
                    <a:pt x="1027" y="53"/>
                    <a:pt x="632" y="154"/>
                  </a:cubicBezTo>
                  <a:cubicBezTo>
                    <a:pt x="477" y="189"/>
                    <a:pt x="334" y="213"/>
                    <a:pt x="191" y="237"/>
                  </a:cubicBezTo>
                  <a:cubicBezTo>
                    <a:pt x="96" y="249"/>
                    <a:pt x="1" y="356"/>
                    <a:pt x="12" y="463"/>
                  </a:cubicBezTo>
                  <a:cubicBezTo>
                    <a:pt x="35" y="563"/>
                    <a:pt x="120" y="643"/>
                    <a:pt x="218" y="643"/>
                  </a:cubicBezTo>
                  <a:cubicBezTo>
                    <a:pt x="225" y="643"/>
                    <a:pt x="232" y="643"/>
                    <a:pt x="239" y="642"/>
                  </a:cubicBezTo>
                  <a:cubicBezTo>
                    <a:pt x="405" y="630"/>
                    <a:pt x="572" y="582"/>
                    <a:pt x="727" y="547"/>
                  </a:cubicBezTo>
                  <a:cubicBezTo>
                    <a:pt x="1080" y="460"/>
                    <a:pt x="1412" y="413"/>
                    <a:pt x="1708" y="413"/>
                  </a:cubicBezTo>
                  <a:cubicBezTo>
                    <a:pt x="1901" y="413"/>
                    <a:pt x="2079" y="433"/>
                    <a:pt x="2239" y="475"/>
                  </a:cubicBezTo>
                  <a:cubicBezTo>
                    <a:pt x="2727" y="606"/>
                    <a:pt x="3203" y="928"/>
                    <a:pt x="3561" y="1368"/>
                  </a:cubicBezTo>
                  <a:cubicBezTo>
                    <a:pt x="3608" y="1416"/>
                    <a:pt x="3668" y="1439"/>
                    <a:pt x="3703" y="1439"/>
                  </a:cubicBezTo>
                  <a:cubicBezTo>
                    <a:pt x="3751" y="1439"/>
                    <a:pt x="3799" y="1428"/>
                    <a:pt x="3822" y="1404"/>
                  </a:cubicBezTo>
                  <a:cubicBezTo>
                    <a:pt x="3918" y="1309"/>
                    <a:pt x="3918" y="1189"/>
                    <a:pt x="3858" y="1106"/>
                  </a:cubicBezTo>
                  <a:cubicBezTo>
                    <a:pt x="3441" y="594"/>
                    <a:pt x="2894" y="225"/>
                    <a:pt x="2322" y="70"/>
                  </a:cubicBezTo>
                  <a:cubicBezTo>
                    <a:pt x="2138" y="23"/>
                    <a:pt x="1937" y="0"/>
                    <a:pt x="1721" y="0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01" name="Google Shape;10859;p69">
              <a:extLst>
                <a:ext uri="{FF2B5EF4-FFF2-40B4-BE49-F238E27FC236}">
                  <a16:creationId xmlns:a16="http://schemas.microsoft.com/office/drawing/2014/main" id="{C279E900-A95A-1CCB-7B21-658434B8F728}"/>
                </a:ext>
              </a:extLst>
            </p:cNvPr>
            <p:cNvSpPr/>
            <p:nvPr/>
          </p:nvSpPr>
          <p:spPr>
            <a:xfrm>
              <a:off x="3198267" y="2744477"/>
              <a:ext cx="214378" cy="145279"/>
            </a:xfrm>
            <a:custGeom>
              <a:avLst/>
              <a:gdLst/>
              <a:ahLst/>
              <a:cxnLst/>
              <a:rect l="l" t="t" r="r" b="b"/>
              <a:pathLst>
                <a:path w="6751" h="4575" extrusionOk="0">
                  <a:moveTo>
                    <a:pt x="4113" y="1"/>
                  </a:moveTo>
                  <a:cubicBezTo>
                    <a:pt x="3977" y="1"/>
                    <a:pt x="3841" y="10"/>
                    <a:pt x="3703" y="26"/>
                  </a:cubicBezTo>
                  <a:cubicBezTo>
                    <a:pt x="3060" y="74"/>
                    <a:pt x="2500" y="407"/>
                    <a:pt x="2060" y="1026"/>
                  </a:cubicBezTo>
                  <a:cubicBezTo>
                    <a:pt x="1786" y="1407"/>
                    <a:pt x="1643" y="1777"/>
                    <a:pt x="1607" y="1884"/>
                  </a:cubicBezTo>
                  <a:lnTo>
                    <a:pt x="1083" y="2693"/>
                  </a:lnTo>
                  <a:cubicBezTo>
                    <a:pt x="929" y="2241"/>
                    <a:pt x="786" y="1955"/>
                    <a:pt x="774" y="1943"/>
                  </a:cubicBezTo>
                  <a:cubicBezTo>
                    <a:pt x="742" y="1871"/>
                    <a:pt x="666" y="1837"/>
                    <a:pt x="595" y="1837"/>
                  </a:cubicBezTo>
                  <a:cubicBezTo>
                    <a:pt x="560" y="1837"/>
                    <a:pt x="527" y="1844"/>
                    <a:pt x="500" y="1860"/>
                  </a:cubicBezTo>
                  <a:cubicBezTo>
                    <a:pt x="393" y="1896"/>
                    <a:pt x="369" y="2039"/>
                    <a:pt x="417" y="2122"/>
                  </a:cubicBezTo>
                  <a:cubicBezTo>
                    <a:pt x="417" y="2134"/>
                    <a:pt x="869" y="3015"/>
                    <a:pt x="964" y="4158"/>
                  </a:cubicBezTo>
                  <a:cubicBezTo>
                    <a:pt x="810" y="4146"/>
                    <a:pt x="667" y="4098"/>
                    <a:pt x="560" y="4063"/>
                  </a:cubicBezTo>
                  <a:cubicBezTo>
                    <a:pt x="429" y="4003"/>
                    <a:pt x="381" y="3944"/>
                    <a:pt x="381" y="3920"/>
                  </a:cubicBezTo>
                  <a:cubicBezTo>
                    <a:pt x="381" y="3824"/>
                    <a:pt x="286" y="3729"/>
                    <a:pt x="191" y="3729"/>
                  </a:cubicBezTo>
                  <a:cubicBezTo>
                    <a:pt x="83" y="3729"/>
                    <a:pt x="0" y="3824"/>
                    <a:pt x="0" y="3920"/>
                  </a:cubicBezTo>
                  <a:cubicBezTo>
                    <a:pt x="0" y="4039"/>
                    <a:pt x="60" y="4265"/>
                    <a:pt x="393" y="4432"/>
                  </a:cubicBezTo>
                  <a:cubicBezTo>
                    <a:pt x="607" y="4515"/>
                    <a:pt x="893" y="4575"/>
                    <a:pt x="1191" y="4575"/>
                  </a:cubicBezTo>
                  <a:cubicBezTo>
                    <a:pt x="1488" y="4575"/>
                    <a:pt x="1750" y="4515"/>
                    <a:pt x="1976" y="4432"/>
                  </a:cubicBezTo>
                  <a:cubicBezTo>
                    <a:pt x="2334" y="4265"/>
                    <a:pt x="2381" y="4039"/>
                    <a:pt x="2381" y="3920"/>
                  </a:cubicBezTo>
                  <a:cubicBezTo>
                    <a:pt x="2381" y="3824"/>
                    <a:pt x="2286" y="3729"/>
                    <a:pt x="2179" y="3729"/>
                  </a:cubicBezTo>
                  <a:cubicBezTo>
                    <a:pt x="2084" y="3729"/>
                    <a:pt x="1988" y="3824"/>
                    <a:pt x="1988" y="3920"/>
                  </a:cubicBezTo>
                  <a:cubicBezTo>
                    <a:pt x="1988" y="3944"/>
                    <a:pt x="1941" y="4003"/>
                    <a:pt x="1810" y="4063"/>
                  </a:cubicBezTo>
                  <a:cubicBezTo>
                    <a:pt x="1691" y="4122"/>
                    <a:pt x="1548" y="4146"/>
                    <a:pt x="1381" y="4158"/>
                  </a:cubicBezTo>
                  <a:cubicBezTo>
                    <a:pt x="1345" y="3801"/>
                    <a:pt x="1286" y="3479"/>
                    <a:pt x="1226" y="3193"/>
                  </a:cubicBezTo>
                  <a:lnTo>
                    <a:pt x="1917" y="2158"/>
                  </a:lnTo>
                  <a:cubicBezTo>
                    <a:pt x="1941" y="2158"/>
                    <a:pt x="1976" y="2169"/>
                    <a:pt x="2048" y="2181"/>
                  </a:cubicBezTo>
                  <a:cubicBezTo>
                    <a:pt x="2167" y="2229"/>
                    <a:pt x="2334" y="2312"/>
                    <a:pt x="2512" y="2420"/>
                  </a:cubicBezTo>
                  <a:cubicBezTo>
                    <a:pt x="2977" y="2693"/>
                    <a:pt x="3584" y="3027"/>
                    <a:pt x="4251" y="3027"/>
                  </a:cubicBezTo>
                  <a:cubicBezTo>
                    <a:pt x="4477" y="3027"/>
                    <a:pt x="4715" y="2991"/>
                    <a:pt x="4953" y="2896"/>
                  </a:cubicBezTo>
                  <a:cubicBezTo>
                    <a:pt x="6441" y="2312"/>
                    <a:pt x="6739" y="431"/>
                    <a:pt x="6739" y="348"/>
                  </a:cubicBezTo>
                  <a:cubicBezTo>
                    <a:pt x="6751" y="312"/>
                    <a:pt x="6727" y="229"/>
                    <a:pt x="6644" y="193"/>
                  </a:cubicBezTo>
                  <a:cubicBezTo>
                    <a:pt x="6614" y="169"/>
                    <a:pt x="6578" y="157"/>
                    <a:pt x="6541" y="157"/>
                  </a:cubicBezTo>
                  <a:cubicBezTo>
                    <a:pt x="6504" y="157"/>
                    <a:pt x="6465" y="169"/>
                    <a:pt x="6429" y="193"/>
                  </a:cubicBezTo>
                  <a:cubicBezTo>
                    <a:pt x="6298" y="275"/>
                    <a:pt x="6157" y="307"/>
                    <a:pt x="5995" y="307"/>
                  </a:cubicBezTo>
                  <a:cubicBezTo>
                    <a:pt x="5805" y="307"/>
                    <a:pt x="5586" y="263"/>
                    <a:pt x="5322" y="205"/>
                  </a:cubicBezTo>
                  <a:cubicBezTo>
                    <a:pt x="5274" y="193"/>
                    <a:pt x="5239" y="193"/>
                    <a:pt x="5191" y="169"/>
                  </a:cubicBezTo>
                  <a:cubicBezTo>
                    <a:pt x="5177" y="166"/>
                    <a:pt x="5163" y="165"/>
                    <a:pt x="5149" y="165"/>
                  </a:cubicBezTo>
                  <a:cubicBezTo>
                    <a:pt x="5057" y="165"/>
                    <a:pt x="4974" y="231"/>
                    <a:pt x="4953" y="324"/>
                  </a:cubicBezTo>
                  <a:cubicBezTo>
                    <a:pt x="4917" y="431"/>
                    <a:pt x="5001" y="526"/>
                    <a:pt x="5096" y="562"/>
                  </a:cubicBezTo>
                  <a:cubicBezTo>
                    <a:pt x="5144" y="574"/>
                    <a:pt x="5191" y="574"/>
                    <a:pt x="5239" y="586"/>
                  </a:cubicBezTo>
                  <a:cubicBezTo>
                    <a:pt x="5513" y="648"/>
                    <a:pt x="5761" y="703"/>
                    <a:pt x="6002" y="703"/>
                  </a:cubicBezTo>
                  <a:cubicBezTo>
                    <a:pt x="6085" y="703"/>
                    <a:pt x="6168" y="697"/>
                    <a:pt x="6251" y="681"/>
                  </a:cubicBezTo>
                  <a:lnTo>
                    <a:pt x="6251" y="681"/>
                  </a:lnTo>
                  <a:cubicBezTo>
                    <a:pt x="6096" y="1217"/>
                    <a:pt x="5691" y="2217"/>
                    <a:pt x="4786" y="2550"/>
                  </a:cubicBezTo>
                  <a:cubicBezTo>
                    <a:pt x="4600" y="2622"/>
                    <a:pt x="4417" y="2652"/>
                    <a:pt x="4237" y="2652"/>
                  </a:cubicBezTo>
                  <a:cubicBezTo>
                    <a:pt x="3671" y="2652"/>
                    <a:pt x="3146" y="2351"/>
                    <a:pt x="2703" y="2098"/>
                  </a:cubicBezTo>
                  <a:cubicBezTo>
                    <a:pt x="2465" y="1955"/>
                    <a:pt x="2262" y="1836"/>
                    <a:pt x="2084" y="1777"/>
                  </a:cubicBezTo>
                  <a:cubicBezTo>
                    <a:pt x="2286" y="1336"/>
                    <a:pt x="2810" y="503"/>
                    <a:pt x="3727" y="431"/>
                  </a:cubicBezTo>
                  <a:cubicBezTo>
                    <a:pt x="3850" y="420"/>
                    <a:pt x="3970" y="415"/>
                    <a:pt x="4092" y="415"/>
                  </a:cubicBezTo>
                  <a:cubicBezTo>
                    <a:pt x="4241" y="415"/>
                    <a:pt x="4391" y="423"/>
                    <a:pt x="4548" y="443"/>
                  </a:cubicBezTo>
                  <a:cubicBezTo>
                    <a:pt x="4556" y="444"/>
                    <a:pt x="4564" y="444"/>
                    <a:pt x="4571" y="444"/>
                  </a:cubicBezTo>
                  <a:cubicBezTo>
                    <a:pt x="4670" y="444"/>
                    <a:pt x="4763" y="375"/>
                    <a:pt x="4774" y="264"/>
                  </a:cubicBezTo>
                  <a:cubicBezTo>
                    <a:pt x="4786" y="157"/>
                    <a:pt x="4715" y="50"/>
                    <a:pt x="4596" y="38"/>
                  </a:cubicBezTo>
                  <a:cubicBezTo>
                    <a:pt x="4430" y="13"/>
                    <a:pt x="4271" y="1"/>
                    <a:pt x="4113" y="1"/>
                  </a:cubicBezTo>
                  <a:close/>
                </a:path>
              </a:pathLst>
            </a:custGeom>
            <a:solidFill>
              <a:srgbClr val="657E93"/>
            </a:solidFill>
            <a:ln>
              <a:solidFill>
                <a:srgbClr val="FFFFFF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pic>
        <p:nvPicPr>
          <p:cNvPr id="102" name="Рисунок 101" descr="Устойчивость со сплошной заливкой">
            <a:extLst>
              <a:ext uri="{FF2B5EF4-FFF2-40B4-BE49-F238E27FC236}">
                <a16:creationId xmlns:a16="http://schemas.microsoft.com/office/drawing/2014/main" id="{C6ABE2D1-130B-C139-6776-FE726F5439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741049" y="5257283"/>
            <a:ext cx="293605" cy="375263"/>
          </a:xfrm>
          <a:prstGeom prst="rect">
            <a:avLst/>
          </a:prstGeom>
        </p:spPr>
      </p:pic>
      <p:sp>
        <p:nvSpPr>
          <p:cNvPr id="103" name="Прямоугольник 127">
            <a:extLst>
              <a:ext uri="{FF2B5EF4-FFF2-40B4-BE49-F238E27FC236}">
                <a16:creationId xmlns:a16="http://schemas.microsoft.com/office/drawing/2014/main" id="{8872AB6E-B329-4955-248F-089F794D1E52}"/>
              </a:ext>
            </a:extLst>
          </p:cNvPr>
          <p:cNvSpPr/>
          <p:nvPr/>
        </p:nvSpPr>
        <p:spPr>
          <a:xfrm>
            <a:off x="345828" y="4354905"/>
            <a:ext cx="3365865" cy="7574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 eaLnBrk="0" fontAlgn="base" hangingPunct="0">
              <a:buClr>
                <a:srgbClr val="7E7F83"/>
              </a:buClr>
              <a:defRPr/>
            </a:pPr>
            <a:endParaRPr lang="ru-RU" sz="1600" dirty="0">
              <a:solidFill>
                <a:srgbClr val="000000"/>
              </a:solidFill>
              <a:latin typeface="Century Gothic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7F89DDB-2427-CB15-AB47-F5275E41114A}"/>
              </a:ext>
            </a:extLst>
          </p:cNvPr>
          <p:cNvSpPr txBox="1"/>
          <p:nvPr/>
        </p:nvSpPr>
        <p:spPr>
          <a:xfrm>
            <a:off x="356297" y="4346520"/>
            <a:ext cx="318513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defTabSz="1219170" eaLnBrk="0" fontAlgn="base" hangingPunct="0">
              <a:buClr>
                <a:srgbClr val="7E7F83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величение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зооборота и пропускной способности </a:t>
            </a:r>
            <a:r>
              <a:rPr lang="ru-RU" sz="1400" dirty="0">
                <a:solidFill>
                  <a:srgbClr val="000000"/>
                </a:solidFill>
                <a:latin typeface="Arial Narrow" panose="020B0606020202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анзитных коридоров</a:t>
            </a:r>
          </a:p>
        </p:txBody>
      </p:sp>
      <p:pic>
        <p:nvPicPr>
          <p:cNvPr id="106" name="Рисунок 105" descr="Земля контур">
            <a:extLst>
              <a:ext uri="{FF2B5EF4-FFF2-40B4-BE49-F238E27FC236}">
                <a16:creationId xmlns:a16="http://schemas.microsoft.com/office/drawing/2014/main" id="{F9396037-01A0-72D2-6F5F-59D4AC71EC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786208" y="2730967"/>
            <a:ext cx="279559" cy="299982"/>
          </a:xfrm>
          <a:prstGeom prst="rect">
            <a:avLst/>
          </a:prstGeom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654594C-A216-91C2-C5E7-FC0A24AD4B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sp>
        <p:nvSpPr>
          <p:cNvPr id="19" name="Номер слайда 2053">
            <a:extLst>
              <a:ext uri="{FF2B5EF4-FFF2-40B4-BE49-F238E27FC236}">
                <a16:creationId xmlns:a16="http://schemas.microsoft.com/office/drawing/2014/main" id="{E6A6FB8F-30C8-C226-36D7-FD46345C1FEB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4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1603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Диаграмма 59">
            <a:extLst>
              <a:ext uri="{FF2B5EF4-FFF2-40B4-BE49-F238E27FC236}">
                <a16:creationId xmlns:a16="http://schemas.microsoft.com/office/drawing/2014/main" id="{A77F3809-0796-47EC-9BBC-754C852742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749795"/>
              </p:ext>
            </p:extLst>
          </p:nvPr>
        </p:nvGraphicFramePr>
        <p:xfrm>
          <a:off x="295616" y="1752995"/>
          <a:ext cx="2993326" cy="3908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D3CFA9D-5C2A-48F6-36CD-91ADE08DD6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sp>
        <p:nvSpPr>
          <p:cNvPr id="2" name="AutoShape 2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World Bank country economic update for Kazakhstan, summer 202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00256" y="10126"/>
            <a:ext cx="91640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cap="all" dirty="0">
                <a:latin typeface="Arial Narrow" panose="020B0606020202030204" pitchFamily="34" charset="0"/>
              </a:rPr>
              <a:t>Кредитный портфель БРК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4E5C360-8902-5311-096D-280E15CB98BF}"/>
              </a:ext>
            </a:extLst>
          </p:cNvPr>
          <p:cNvSpPr txBox="1"/>
          <p:nvPr/>
        </p:nvSpPr>
        <p:spPr>
          <a:xfrm>
            <a:off x="102959" y="369911"/>
            <a:ext cx="836848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685983"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Verdana" panose="020B0604030504040204" pitchFamily="34" charset="0"/>
                <a:cs typeface="+mn-cs"/>
              </a:rPr>
              <a:t>БРК оказывает финансовую</a:t>
            </a:r>
            <a:r>
              <a:rPr kumimoji="0" lang="ru-RU" sz="12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Verdana" panose="020B0604030504040204" pitchFamily="34" charset="0"/>
                <a:cs typeface="+mn-cs"/>
              </a:rPr>
              <a:t> поддержку</a:t>
            </a:r>
            <a:r>
              <a:rPr lang="ru-RU" sz="1200" i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 70 инвестиционным проектам и 24 экспортным операциям общей стоимостью 8 </a:t>
            </a:r>
            <a:r>
              <a:rPr lang="ru-RU" sz="1200" i="1" dirty="0" err="1" smtClean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трлн.тенге</a:t>
            </a:r>
            <a:r>
              <a:rPr lang="ru-RU" sz="1200" i="1" dirty="0" smtClean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 </a:t>
            </a:r>
            <a:r>
              <a:rPr lang="ru-RU" sz="1200" i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</a:rPr>
              <a:t>и 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Verdana" panose="020B0604030504040204" pitchFamily="34" charset="0"/>
                <a:cs typeface="+mn-cs"/>
              </a:rPr>
              <a:t>на сумму одобренного займа 3,9 трлн тенге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929D5EC-A8C3-1835-FAA9-7E831CF405B0}"/>
              </a:ext>
            </a:extLst>
          </p:cNvPr>
          <p:cNvSpPr txBox="1"/>
          <p:nvPr/>
        </p:nvSpPr>
        <p:spPr>
          <a:xfrm>
            <a:off x="8672145" y="3275691"/>
            <a:ext cx="3416227" cy="297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3798">
              <a:defRPr/>
            </a:pPr>
            <a:r>
              <a:rPr lang="ru-RU" sz="1332" b="1" dirty="0"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иально-экономические эффекты за 2022г. </a:t>
            </a:r>
            <a:endParaRPr lang="ru-RU" sz="1332" b="1" dirty="0">
              <a:latin typeface="Arial Narrow" panose="020B0606020202030204" pitchFamily="34" charset="0"/>
            </a:endParaRP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CC363408-F490-5D48-54A8-BA0AC08B3916}"/>
              </a:ext>
            </a:extLst>
          </p:cNvPr>
          <p:cNvCxnSpPr>
            <a:cxnSpLocks/>
          </p:cNvCxnSpPr>
          <p:nvPr/>
        </p:nvCxnSpPr>
        <p:spPr>
          <a:xfrm>
            <a:off x="8616280" y="1654535"/>
            <a:ext cx="0" cy="371868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84" name="Диаграмма 83">
            <a:extLst>
              <a:ext uri="{FF2B5EF4-FFF2-40B4-BE49-F238E27FC236}">
                <a16:creationId xmlns:a16="http://schemas.microsoft.com/office/drawing/2014/main" id="{B9506178-E854-F812-BCFF-8911525177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4934790"/>
              </p:ext>
            </p:extLst>
          </p:nvPr>
        </p:nvGraphicFramePr>
        <p:xfrm>
          <a:off x="9031731" y="857908"/>
          <a:ext cx="2493696" cy="2515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6" name="TextBox 85">
            <a:extLst>
              <a:ext uri="{FF2B5EF4-FFF2-40B4-BE49-F238E27FC236}">
                <a16:creationId xmlns:a16="http://schemas.microsoft.com/office/drawing/2014/main" id="{D7CCB3A9-762A-098C-1A08-41D44AA6D489}"/>
              </a:ext>
            </a:extLst>
          </p:cNvPr>
          <p:cNvSpPr txBox="1"/>
          <p:nvPr/>
        </p:nvSpPr>
        <p:spPr>
          <a:xfrm>
            <a:off x="9995889" y="2505914"/>
            <a:ext cx="603050" cy="3384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599" b="1" dirty="0">
                <a:solidFill>
                  <a:schemeClr val="tx2"/>
                </a:solidFill>
                <a:latin typeface="Arial Narrow" panose="020B0606020202030204" pitchFamily="34" charset="0"/>
              </a:rPr>
              <a:t>1 774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878986" y="4451433"/>
            <a:ext cx="537327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 01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83214" y="222197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 564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4027BE1-DF15-9958-21E0-BF1BF900CFFD}"/>
              </a:ext>
            </a:extLst>
          </p:cNvPr>
          <p:cNvSpPr txBox="1"/>
          <p:nvPr/>
        </p:nvSpPr>
        <p:spPr>
          <a:xfrm>
            <a:off x="3069828" y="3493484"/>
            <a:ext cx="34176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4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3098495-4753-B79C-31EA-F7313FB8D387}"/>
              </a:ext>
            </a:extLst>
          </p:cNvPr>
          <p:cNvSpPr txBox="1"/>
          <p:nvPr/>
        </p:nvSpPr>
        <p:spPr>
          <a:xfrm>
            <a:off x="3141376" y="2542130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2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43698FD8-51E9-0F4E-75BC-83A60DD5E6BB}"/>
              </a:ext>
            </a:extLst>
          </p:cNvPr>
          <p:cNvSpPr txBox="1"/>
          <p:nvPr/>
        </p:nvSpPr>
        <p:spPr>
          <a:xfrm>
            <a:off x="943487" y="917870"/>
            <a:ext cx="2961067" cy="502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Arial Narrow" panose="020B0606020202030204" pitchFamily="34" charset="0"/>
              </a:rPr>
              <a:t>Отраслевая структура </a:t>
            </a:r>
          </a:p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Arial Narrow" panose="020B0606020202030204" pitchFamily="34" charset="0"/>
              </a:rPr>
              <a:t>кредитного портфеля в 1,77 трлн тенге </a:t>
            </a:r>
            <a:endParaRPr lang="ru-RU" sz="1199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F9211FC-608C-0D2C-B029-20715B4C8FC8}"/>
              </a:ext>
            </a:extLst>
          </p:cNvPr>
          <p:cNvSpPr txBox="1"/>
          <p:nvPr/>
        </p:nvSpPr>
        <p:spPr>
          <a:xfrm>
            <a:off x="2432598" y="1458890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94</a:t>
            </a:r>
          </a:p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оекта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5768" y="4451432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FF54FE09-A542-91F7-EDBA-5224D4E52D7F}"/>
              </a:ext>
            </a:extLst>
          </p:cNvPr>
          <p:cNvSpPr txBox="1"/>
          <p:nvPr/>
        </p:nvSpPr>
        <p:spPr>
          <a:xfrm>
            <a:off x="3075361" y="3793112"/>
            <a:ext cx="34176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0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D8CAF39-561C-EE61-1A70-93476905A63A}"/>
              </a:ext>
            </a:extLst>
          </p:cNvPr>
          <p:cNvSpPr txBox="1"/>
          <p:nvPr/>
        </p:nvSpPr>
        <p:spPr>
          <a:xfrm>
            <a:off x="3086936" y="2863659"/>
            <a:ext cx="34176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0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EB6779B-8D85-2920-8F65-ABA96A9F6BDC}"/>
              </a:ext>
            </a:extLst>
          </p:cNvPr>
          <p:cNvSpPr txBox="1"/>
          <p:nvPr/>
        </p:nvSpPr>
        <p:spPr>
          <a:xfrm>
            <a:off x="3076365" y="3184196"/>
            <a:ext cx="34176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21</a:t>
            </a: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4424485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F48CE06F-CC0D-06C9-191B-87B5AAB5D1E0}"/>
              </a:ext>
            </a:extLst>
          </p:cNvPr>
          <p:cNvCxnSpPr>
            <a:cxnSpLocks/>
          </p:cNvCxnSpPr>
          <p:nvPr/>
        </p:nvCxnSpPr>
        <p:spPr>
          <a:xfrm>
            <a:off x="1721375" y="4737766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id="{174AA76B-E78D-26CA-2147-54077EED897C}"/>
              </a:ext>
            </a:extLst>
          </p:cNvPr>
          <p:cNvCxnSpPr>
            <a:cxnSpLocks/>
          </p:cNvCxnSpPr>
          <p:nvPr/>
        </p:nvCxnSpPr>
        <p:spPr>
          <a:xfrm>
            <a:off x="4655840" y="1700572"/>
            <a:ext cx="0" cy="371880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Прямоугольный треугольник 109">
            <a:extLst>
              <a:ext uri="{FF2B5EF4-FFF2-40B4-BE49-F238E27FC236}">
                <a16:creationId xmlns:a16="http://schemas.microsoft.com/office/drawing/2014/main" id="{77BE0E7A-FAC0-4C14-B425-B7EE01C3E798}"/>
              </a:ext>
            </a:extLst>
          </p:cNvPr>
          <p:cNvSpPr/>
          <p:nvPr/>
        </p:nvSpPr>
        <p:spPr>
          <a:xfrm>
            <a:off x="10051951" y="4165780"/>
            <a:ext cx="656617" cy="728785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98">
              <a:defRPr/>
            </a:pPr>
            <a:endParaRPr lang="ru-RU" sz="2131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pic>
        <p:nvPicPr>
          <p:cNvPr id="111" name="Рисунок 110" descr="Группа мужчин со сплошной заливкой">
            <a:extLst>
              <a:ext uri="{FF2B5EF4-FFF2-40B4-BE49-F238E27FC236}">
                <a16:creationId xmlns:a16="http://schemas.microsoft.com/office/drawing/2014/main" id="{F8B319F5-DCE2-E37E-3A6B-D718729D3F3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8721444" y="5303812"/>
            <a:ext cx="479556" cy="479556"/>
          </a:xfrm>
          <a:prstGeom prst="rect">
            <a:avLst/>
          </a:prstGeom>
        </p:spPr>
      </p:pic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B17F1CFA-CDD0-E5B5-756C-F3110AA5D3ED}"/>
              </a:ext>
            </a:extLst>
          </p:cNvPr>
          <p:cNvSpPr/>
          <p:nvPr/>
        </p:nvSpPr>
        <p:spPr>
          <a:xfrm>
            <a:off x="9425934" y="5262038"/>
            <a:ext cx="1366693" cy="543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е рабочие</a:t>
            </a:r>
          </a:p>
          <a:p>
            <a:pPr algn="ctr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ста</a:t>
            </a:r>
          </a:p>
        </p:txBody>
      </p:sp>
      <p:pic>
        <p:nvPicPr>
          <p:cNvPr id="114" name="Рисунок 113" descr="Налог со сплошной заливкой">
            <a:extLst>
              <a:ext uri="{FF2B5EF4-FFF2-40B4-BE49-F238E27FC236}">
                <a16:creationId xmlns:a16="http://schemas.microsoft.com/office/drawing/2014/main" id="{757575F7-E104-A03A-4501-33879D0B212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705011" y="4749644"/>
            <a:ext cx="479556" cy="479556"/>
          </a:xfrm>
          <a:prstGeom prst="rect">
            <a:avLst/>
          </a:prstGeom>
        </p:spPr>
      </p:pic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489FDF7C-76A9-4EEB-14F2-204C59F558F3}"/>
              </a:ext>
            </a:extLst>
          </p:cNvPr>
          <p:cNvSpPr/>
          <p:nvPr/>
        </p:nvSpPr>
        <p:spPr>
          <a:xfrm>
            <a:off x="9757681" y="4810287"/>
            <a:ext cx="811918" cy="317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логи</a:t>
            </a:r>
          </a:p>
        </p:txBody>
      </p:sp>
      <p:pic>
        <p:nvPicPr>
          <p:cNvPr id="117" name="Рисунок 116" descr="Корзина для покупок со сплошной заливкой">
            <a:extLst>
              <a:ext uri="{FF2B5EF4-FFF2-40B4-BE49-F238E27FC236}">
                <a16:creationId xmlns:a16="http://schemas.microsoft.com/office/drawing/2014/main" id="{0CAB5EC5-0389-B139-7D38-B1A7FB64BE0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8688288" y="3597516"/>
            <a:ext cx="479556" cy="479556"/>
          </a:xfrm>
          <a:prstGeom prst="rect">
            <a:avLst/>
          </a:prstGeom>
        </p:spPr>
      </p:pic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2F210BE4-5A48-B37C-0CA3-5F608044C83A}"/>
              </a:ext>
            </a:extLst>
          </p:cNvPr>
          <p:cNvSpPr/>
          <p:nvPr/>
        </p:nvSpPr>
        <p:spPr>
          <a:xfrm>
            <a:off x="9483663" y="3694014"/>
            <a:ext cx="1204477" cy="317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ручка</a:t>
            </a:r>
          </a:p>
        </p:txBody>
      </p:sp>
      <p:pic>
        <p:nvPicPr>
          <p:cNvPr id="120" name="Рисунок 119" descr="Земной шар: Азия со сплошной заливкой">
            <a:extLst>
              <a:ext uri="{FF2B5EF4-FFF2-40B4-BE49-F238E27FC236}">
                <a16:creationId xmlns:a16="http://schemas.microsoft.com/office/drawing/2014/main" id="{7A390CF9-FF6C-3492-E808-22035AC7C43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8696490" y="4173580"/>
            <a:ext cx="479556" cy="479556"/>
          </a:xfrm>
          <a:prstGeom prst="rect">
            <a:avLst/>
          </a:prstGeom>
        </p:spPr>
      </p:pic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E77E2149-9354-9CB0-56D5-19BC29CB0DA2}"/>
              </a:ext>
            </a:extLst>
          </p:cNvPr>
          <p:cNvSpPr/>
          <p:nvPr/>
        </p:nvSpPr>
        <p:spPr>
          <a:xfrm>
            <a:off x="9483665" y="4118281"/>
            <a:ext cx="1204475" cy="543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кспорт</a:t>
            </a:r>
          </a:p>
          <a:p>
            <a:pPr algn="ctr" defTabSz="913798">
              <a:defRPr/>
            </a:pPr>
            <a:r>
              <a:rPr lang="ru-RU" sz="1465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дукции</a:t>
            </a:r>
          </a:p>
        </p:txBody>
      </p: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C8268E09-267D-48EF-A99C-437701F15245}"/>
              </a:ext>
            </a:extLst>
          </p:cNvPr>
          <p:cNvCxnSpPr>
            <a:cxnSpLocks/>
          </p:cNvCxnSpPr>
          <p:nvPr/>
        </p:nvCxnSpPr>
        <p:spPr>
          <a:xfrm>
            <a:off x="1721375" y="5056340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Номер слайда 2053">
            <a:extLst>
              <a:ext uri="{FF2B5EF4-FFF2-40B4-BE49-F238E27FC236}">
                <a16:creationId xmlns:a16="http://schemas.microsoft.com/office/drawing/2014/main" id="{2C8CB858-8B8E-43DF-A259-5AEF55CAE15D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B4975A"/>
                </a:solidFill>
                <a:effectLst/>
                <a:uLnTx/>
                <a:uFillTx/>
                <a:latin typeface="Arial Narrow" panose="020B0606020202030204" pitchFamily="34" charset="0"/>
                <a:ea typeface="BatangChe" panose="02030609000101010101" pitchFamily="49" charset="-127"/>
                <a:cs typeface="+mn-cs"/>
              </a:rPr>
              <a:t>5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55183C1-DB7E-6D04-E2F4-DC2E5DBF1F78}"/>
              </a:ext>
            </a:extLst>
          </p:cNvPr>
          <p:cNvSpPr/>
          <p:nvPr/>
        </p:nvSpPr>
        <p:spPr>
          <a:xfrm>
            <a:off x="10749807" y="3550230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690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 тенге</a:t>
            </a:r>
            <a:endParaRPr lang="ru-RU" sz="1199" dirty="0">
              <a:solidFill>
                <a:prstClr val="black"/>
              </a:solidFill>
              <a:latin typeface="Arial Narrow" panose="020B06060202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2D0E78F-90F6-2328-136E-D6953632054C}"/>
              </a:ext>
            </a:extLst>
          </p:cNvPr>
          <p:cNvSpPr/>
          <p:nvPr/>
        </p:nvSpPr>
        <p:spPr>
          <a:xfrm>
            <a:off x="10762307" y="4122799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262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 тенге</a:t>
            </a:r>
            <a:endParaRPr lang="ru-RU" sz="1199" dirty="0">
              <a:solidFill>
                <a:prstClr val="black"/>
              </a:solidFill>
              <a:latin typeface="Arial Narrow" panose="020B06060202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9759E1F-606E-A41F-B31C-B470367601A6}"/>
              </a:ext>
            </a:extLst>
          </p:cNvPr>
          <p:cNvSpPr/>
          <p:nvPr/>
        </p:nvSpPr>
        <p:spPr>
          <a:xfrm>
            <a:off x="10795952" y="4639964"/>
            <a:ext cx="1025103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96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 тенге</a:t>
            </a:r>
            <a:endParaRPr lang="ru-RU" sz="1199" dirty="0">
              <a:solidFill>
                <a:prstClr val="black"/>
              </a:solidFill>
              <a:latin typeface="Arial Narrow" panose="020B06060202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E75C81C-EEA4-56B2-1764-6B2065BE411D}"/>
              </a:ext>
            </a:extLst>
          </p:cNvPr>
          <p:cNvSpPr/>
          <p:nvPr/>
        </p:nvSpPr>
        <p:spPr>
          <a:xfrm>
            <a:off x="10837674" y="5215840"/>
            <a:ext cx="888785" cy="502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798">
              <a:defRPr/>
            </a:pPr>
            <a:r>
              <a:rPr lang="ru-RU" sz="1599" b="1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160</a:t>
            </a:r>
          </a:p>
          <a:p>
            <a:pPr algn="ctr" defTabSz="913798">
              <a:defRPr/>
            </a:pPr>
            <a:r>
              <a:rPr lang="ru-RU" sz="1066" dirty="0">
                <a:solidFill>
                  <a:prstClr val="black"/>
                </a:solidFill>
                <a:latin typeface="Arial Narrow" panose="020B0606020202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.</a:t>
            </a:r>
            <a:endParaRPr lang="ru-RU" sz="1199" dirty="0">
              <a:solidFill>
                <a:prstClr val="black"/>
              </a:solidFill>
              <a:latin typeface="Arial Narrow" panose="020B0606020202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688288" y="5879876"/>
            <a:ext cx="32865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3025" algn="just">
              <a:spcAft>
                <a:spcPts val="0"/>
              </a:spcAft>
            </a:pPr>
            <a:r>
              <a:rPr lang="ru-RU" sz="1000" i="1" dirty="0"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*Рассчитывается с четом </a:t>
            </a:r>
            <a:r>
              <a:rPr lang="ru-RU" sz="1000" i="1" dirty="0"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ли предоставленных БРК финансовых инструментов в долговых обязательствах предприятия</a:t>
            </a:r>
            <a:endParaRPr lang="ru-RU" sz="1000" dirty="0"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32921" y="4100466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781490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467472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721375" y="3146808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829428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505424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E10D2528-20DB-B9F7-5944-D48654107E2B}"/>
              </a:ext>
            </a:extLst>
          </p:cNvPr>
          <p:cNvCxnSpPr>
            <a:cxnSpLocks/>
          </p:cNvCxnSpPr>
          <p:nvPr/>
        </p:nvCxnSpPr>
        <p:spPr>
          <a:xfrm>
            <a:off x="1694402" y="2191535"/>
            <a:ext cx="2700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107262" y="1882668"/>
            <a:ext cx="341760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DF9211FC-608C-0D2C-B029-20715B4C8FC8}"/>
              </a:ext>
            </a:extLst>
          </p:cNvPr>
          <p:cNvSpPr txBox="1"/>
          <p:nvPr/>
        </p:nvSpPr>
        <p:spPr>
          <a:xfrm>
            <a:off x="3476672" y="1452204"/>
            <a:ext cx="1395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21 169 новых</a:t>
            </a:r>
          </a:p>
          <a:p>
            <a:pPr algn="ctr" defTabSz="913798">
              <a:defRPr/>
            </a:pPr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 рабочих мест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141376" y="2216662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59495" y="315837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 794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902049" y="2545279"/>
            <a:ext cx="537327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2 860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090320" y="5098511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C69EACF8-1F11-2A1D-865A-3786ABA24338}"/>
              </a:ext>
            </a:extLst>
          </p:cNvPr>
          <p:cNvSpPr txBox="1"/>
          <p:nvPr/>
        </p:nvSpPr>
        <p:spPr>
          <a:xfrm>
            <a:off x="3855561" y="5098511"/>
            <a:ext cx="537327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 508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83088" y="1880736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7 262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70390" y="3484517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2 677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97530" y="2839817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45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75982" y="3798183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705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875411" y="4118281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1 075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5768" y="4111685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6DE0241-30EB-021B-DEB4-6134BA9BB3EE}"/>
              </a:ext>
            </a:extLst>
          </p:cNvPr>
          <p:cNvSpPr txBox="1"/>
          <p:nvPr/>
        </p:nvSpPr>
        <p:spPr>
          <a:xfrm>
            <a:off x="3107546" y="4748932"/>
            <a:ext cx="263214" cy="297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056E3FC-645C-70AB-8DB7-D904ECBC1093}"/>
              </a:ext>
            </a:extLst>
          </p:cNvPr>
          <p:cNvSpPr txBox="1"/>
          <p:nvPr/>
        </p:nvSpPr>
        <p:spPr>
          <a:xfrm>
            <a:off x="3985376" y="4753040"/>
            <a:ext cx="622437" cy="297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98">
              <a:defRPr/>
            </a:pPr>
            <a:r>
              <a:rPr lang="ru-RU" sz="1332" dirty="0">
                <a:solidFill>
                  <a:prstClr val="black"/>
                </a:solidFill>
                <a:latin typeface="Arial Narrow" panose="020B0606020202030204" pitchFamily="34" charset="0"/>
              </a:rPr>
              <a:t>262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86698" y="6469291"/>
            <a:ext cx="32865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3025" algn="just">
              <a:spcAft>
                <a:spcPts val="0"/>
              </a:spcAft>
            </a:pPr>
            <a:r>
              <a:rPr lang="ru-RU" sz="1000" i="1" dirty="0"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По курсу 462,65 тенге за долл. США</a:t>
            </a:r>
            <a:endParaRPr lang="ru-RU" sz="1000" dirty="0">
              <a:latin typeface="Arial Narrow" panose="020B0606020202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3DD1212-4DAA-87AE-F718-945E685524B6}"/>
              </a:ext>
            </a:extLst>
          </p:cNvPr>
          <p:cNvSpPr txBox="1"/>
          <p:nvPr/>
        </p:nvSpPr>
        <p:spPr>
          <a:xfrm>
            <a:off x="8760296" y="836712"/>
            <a:ext cx="3166251" cy="5023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Arial Narrow" panose="020B0606020202030204" pitchFamily="34" charset="0"/>
              </a:rPr>
              <a:t>Кредитный портфель </a:t>
            </a:r>
          </a:p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Arial Narrow" panose="020B0606020202030204" pitchFamily="34" charset="0"/>
              </a:rPr>
              <a:t>по источникам фондирования, </a:t>
            </a:r>
            <a:r>
              <a:rPr lang="ru-RU" sz="1332" b="1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млрд.тенге</a:t>
            </a:r>
            <a:endParaRPr lang="ru-RU" sz="1332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43698FD8-51E9-0F4E-75BC-83A60DD5E6BB}"/>
              </a:ext>
            </a:extLst>
          </p:cNvPr>
          <p:cNvSpPr txBox="1"/>
          <p:nvPr/>
        </p:nvSpPr>
        <p:spPr>
          <a:xfrm>
            <a:off x="5807968" y="880166"/>
            <a:ext cx="1952691" cy="502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798">
              <a:defRPr/>
            </a:pPr>
            <a:r>
              <a:rPr lang="ru-RU" sz="1332" b="1" dirty="0">
                <a:solidFill>
                  <a:prstClr val="black"/>
                </a:solidFill>
                <a:latin typeface="Arial Narrow" panose="020B0606020202030204" pitchFamily="34" charset="0"/>
              </a:rPr>
              <a:t>Региональная структура кредитного портфел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E5BC13-B487-1CFF-50C0-615951DE27ED}"/>
              </a:ext>
            </a:extLst>
          </p:cNvPr>
          <p:cNvSpPr txBox="1"/>
          <p:nvPr/>
        </p:nvSpPr>
        <p:spPr>
          <a:xfrm>
            <a:off x="6051268" y="2703004"/>
            <a:ext cx="128034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 Narrow" panose="020B0606020202030204" pitchFamily="34" charset="0"/>
              </a:rPr>
              <a:t>1,77 </a:t>
            </a:r>
          </a:p>
          <a:p>
            <a:pPr algn="ctr"/>
            <a:r>
              <a:rPr lang="ru-RU" sz="1800" b="1" dirty="0">
                <a:solidFill>
                  <a:schemeClr val="tx2">
                    <a:lumMod val="75000"/>
                  </a:schemeClr>
                </a:solidFill>
                <a:latin typeface="Arial Narrow" panose="020B0606020202030204" pitchFamily="34" charset="0"/>
              </a:rPr>
              <a:t>трлн тенге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F39ACD2F-C9FC-A574-8EF4-9B202C35E4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872579"/>
              </p:ext>
            </p:extLst>
          </p:nvPr>
        </p:nvGraphicFramePr>
        <p:xfrm>
          <a:off x="4348939" y="1461123"/>
          <a:ext cx="4480518" cy="5005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8448424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548A232-3B6F-7689-A0D9-08677BDD7A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4">
            <a:extLst>
              <a:ext uri="{FF2B5EF4-FFF2-40B4-BE49-F238E27FC236}">
                <a16:creationId xmlns:a16="http://schemas.microsoft.com/office/drawing/2014/main" id="{C7AE622D-E1DA-3A16-2177-6ECEF23EE3CE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36">
            <a:extLst>
              <a:ext uri="{FF2B5EF4-FFF2-40B4-BE49-F238E27FC236}">
                <a16:creationId xmlns:a16="http://schemas.microsoft.com/office/drawing/2014/main" id="{9BB110CF-70CD-C289-9451-107AB610798F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409F8FD3-0BC7-CB07-8041-D2A873C19F30}"/>
              </a:ext>
            </a:extLst>
          </p:cNvPr>
          <p:cNvSpPr txBox="1"/>
          <p:nvPr/>
        </p:nvSpPr>
        <p:spPr>
          <a:xfrm>
            <a:off x="119336" y="35332"/>
            <a:ext cx="6624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latin typeface="Arial Narrow" panose="020B0606020202030204" pitchFamily="34" charset="0"/>
                <a:ea typeface="+mj-ea"/>
                <a:cs typeface="+mj-cs"/>
              </a:rPr>
              <a:t>20% ВИЭ В КАЗАХСТАНЕ РЕАЛИЗОВАНО ПРИ ПОДДЕРЖКЕ БРК</a:t>
            </a:r>
          </a:p>
        </p:txBody>
      </p:sp>
      <p:graphicFrame>
        <p:nvGraphicFramePr>
          <p:cNvPr id="11" name="Диаграмма 2">
            <a:extLst>
              <a:ext uri="{FF2B5EF4-FFF2-40B4-BE49-F238E27FC236}">
                <a16:creationId xmlns:a16="http://schemas.microsoft.com/office/drawing/2014/main" id="{F403D6F5-8496-737B-2689-B742E2E242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2862178"/>
              </p:ext>
            </p:extLst>
          </p:nvPr>
        </p:nvGraphicFramePr>
        <p:xfrm>
          <a:off x="359362" y="2604267"/>
          <a:ext cx="6144683" cy="3527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Диаграмма 3">
            <a:extLst>
              <a:ext uri="{FF2B5EF4-FFF2-40B4-BE49-F238E27FC236}">
                <a16:creationId xmlns:a16="http://schemas.microsoft.com/office/drawing/2014/main" id="{592A6FE1-49B2-1417-2FB2-EABF480626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0408237"/>
              </p:ext>
            </p:extLst>
          </p:nvPr>
        </p:nvGraphicFramePr>
        <p:xfrm>
          <a:off x="6186275" y="2604266"/>
          <a:ext cx="5950238" cy="3552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3" name="Group 259">
            <a:extLst>
              <a:ext uri="{FF2B5EF4-FFF2-40B4-BE49-F238E27FC236}">
                <a16:creationId xmlns:a16="http://schemas.microsoft.com/office/drawing/2014/main" id="{32D6FD17-231A-40E2-5751-DF5AD8096846}"/>
              </a:ext>
            </a:extLst>
          </p:cNvPr>
          <p:cNvGrpSpPr/>
          <p:nvPr/>
        </p:nvGrpSpPr>
        <p:grpSpPr>
          <a:xfrm>
            <a:off x="407368" y="836712"/>
            <a:ext cx="11602703" cy="1152128"/>
            <a:chOff x="-482157" y="1113386"/>
            <a:chExt cx="11015132" cy="1866512"/>
          </a:xfrm>
        </p:grpSpPr>
        <p:sp>
          <p:nvSpPr>
            <p:cNvPr id="14" name="Rectangle 260">
              <a:extLst>
                <a:ext uri="{FF2B5EF4-FFF2-40B4-BE49-F238E27FC236}">
                  <a16:creationId xmlns:a16="http://schemas.microsoft.com/office/drawing/2014/main" id="{1F22F752-C09A-1057-0F38-018172491BE9}"/>
                </a:ext>
              </a:extLst>
            </p:cNvPr>
            <p:cNvSpPr/>
            <p:nvPr/>
          </p:nvSpPr>
          <p:spPr bwMode="auto">
            <a:xfrm>
              <a:off x="-311409" y="1113386"/>
              <a:ext cx="10844384" cy="1866512"/>
            </a:xfrm>
            <a:prstGeom prst="rect">
              <a:avLst/>
            </a:prstGeom>
            <a:solidFill>
              <a:srgbClr val="F2F2F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180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just"/>
              <a:r>
                <a:rPr lang="ru-RU" sz="1400" b="1" dirty="0">
                  <a:solidFill>
                    <a:srgbClr val="AE870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Общий объем финансирования Банка проектов ВИЭ </a:t>
              </a:r>
              <a:r>
                <a:rPr lang="ru-RU" sz="1400" dirty="0"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на 01.02.2023 года составил </a:t>
              </a:r>
              <a:r>
                <a:rPr lang="ru-RU" sz="1867" b="1" dirty="0">
                  <a:solidFill>
                    <a:srgbClr val="AE870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179,5 млрд. тенге</a:t>
              </a:r>
            </a:p>
            <a:p>
              <a:pPr algn="just"/>
              <a:endParaRPr lang="ru-RU" sz="1400" b="1" dirty="0"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just"/>
              <a:r>
                <a:rPr lang="ru-RU" sz="1400" b="1" dirty="0">
                  <a:solidFill>
                    <a:srgbClr val="AE870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Общая установленная мощность </a:t>
              </a:r>
              <a:r>
                <a:rPr lang="ru-RU" sz="1400" dirty="0"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данных проектов </a:t>
              </a:r>
              <a:r>
                <a:rPr lang="ru-RU" sz="1867" b="1" dirty="0">
                  <a:solidFill>
                    <a:srgbClr val="AE8705"/>
                  </a:solidFill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560,0 МВт</a:t>
              </a:r>
              <a:r>
                <a:rPr lang="ru-RU" sz="1400" dirty="0">
                  <a:latin typeface="Arial Narrow" panose="020B060602020203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, из них СЭС - 220 МВт, ВЭС - 300 МВт, ГЭС – 40 МВт.</a:t>
              </a:r>
            </a:p>
          </p:txBody>
        </p:sp>
        <p:sp>
          <p:nvSpPr>
            <p:cNvPr id="15" name="Rectangle 261">
              <a:extLst>
                <a:ext uri="{FF2B5EF4-FFF2-40B4-BE49-F238E27FC236}">
                  <a16:creationId xmlns:a16="http://schemas.microsoft.com/office/drawing/2014/main" id="{B47E9DBF-8451-29CC-30BD-B821E7762989}"/>
                </a:ext>
              </a:extLst>
            </p:cNvPr>
            <p:cNvSpPr/>
            <p:nvPr/>
          </p:nvSpPr>
          <p:spPr bwMode="auto">
            <a:xfrm>
              <a:off x="-482157" y="1113390"/>
              <a:ext cx="110400" cy="1824928"/>
            </a:xfrm>
            <a:prstGeom prst="rect">
              <a:avLst/>
            </a:prstGeom>
            <a:solidFill>
              <a:srgbClr val="AE8705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7">
                <a:defRPr/>
              </a:pPr>
              <a:endParaRPr lang="en-GB" sz="1000" kern="0" baseline="30000" dirty="0">
                <a:solidFill>
                  <a:srgbClr val="000000"/>
                </a:solidFill>
                <a:latin typeface="Arial Narrow" panose="020B0606020202030204" pitchFamily="34" charset="0"/>
                <a:ea typeface="ヒラギノ角ゴ Pro W3" pitchFamily="124" charset="-128"/>
              </a:endParaRPr>
            </a:p>
          </p:txBody>
        </p:sp>
      </p:grpSp>
      <p:sp>
        <p:nvSpPr>
          <p:cNvPr id="16" name="Номер слайда 2053">
            <a:extLst>
              <a:ext uri="{FF2B5EF4-FFF2-40B4-BE49-F238E27FC236}">
                <a16:creationId xmlns:a16="http://schemas.microsoft.com/office/drawing/2014/main" id="{62918EE5-1F70-B737-9BF0-BF1A9102D205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6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89309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1D56D169-7320-45FE-AD1D-ADE3F5AA93A5}"/>
              </a:ext>
            </a:extLst>
          </p:cNvPr>
          <p:cNvSpPr/>
          <p:nvPr/>
        </p:nvSpPr>
        <p:spPr>
          <a:xfrm>
            <a:off x="8438" y="9263"/>
            <a:ext cx="10677115" cy="396000"/>
          </a:xfrm>
          <a:custGeom>
            <a:avLst/>
            <a:gdLst/>
            <a:ahLst/>
            <a:cxnLst/>
            <a:rect l="l" t="t" r="r" b="b"/>
            <a:pathLst>
              <a:path w="12192000" h="509905">
                <a:moveTo>
                  <a:pt x="0" y="509777"/>
                </a:moveTo>
                <a:lnTo>
                  <a:pt x="12192000" y="509777"/>
                </a:lnTo>
                <a:lnTo>
                  <a:pt x="12192000" y="0"/>
                </a:lnTo>
                <a:lnTo>
                  <a:pt x="0" y="0"/>
                </a:lnTo>
                <a:lnTo>
                  <a:pt x="0" y="509777"/>
                </a:lnTo>
                <a:close/>
              </a:path>
            </a:pathLst>
          </a:custGeom>
          <a:noFill/>
        </p:spPr>
        <p:txBody>
          <a:bodyPr wrap="square" lIns="0" tIns="0" rIns="0" bIns="0" rtlCol="0" anchor="ctr"/>
          <a:lstStyle/>
          <a:p>
            <a:pPr marL="90488"/>
            <a:r>
              <a:rPr lang="kk-KZ" sz="1600" b="1" dirty="0">
                <a:latin typeface="Arial Narrow" panose="020B0606020202030204" pitchFamily="34" charset="0"/>
                <a:ea typeface="+mj-ea"/>
                <a:cs typeface="+mj-cs"/>
              </a:rPr>
              <a:t>ПРИМЕРЫ </a:t>
            </a:r>
            <a:r>
              <a:rPr lang="ru-RU" sz="1600" b="1" dirty="0">
                <a:latin typeface="Arial Narrow" panose="020B0606020202030204" pitchFamily="34" charset="0"/>
                <a:ea typeface="+mj-ea"/>
                <a:cs typeface="+mj-cs"/>
              </a:rPr>
              <a:t>ПОДДЕРЖАННЫХ ИНВЕСТИЦИОННЫХ ПРОЕКТОВ В ОБРАБАТЫВАЮЩЕЙ ОТРАСЛИ </a:t>
            </a:r>
          </a:p>
        </p:txBody>
      </p:sp>
      <p:sp>
        <p:nvSpPr>
          <p:cNvPr id="53" name="Номер слайда 2053"/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7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8947795" y="738849"/>
            <a:ext cx="2630314" cy="5436146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Arial Narrow" panose="020B0606020202030204" pitchFamily="34" charset="0"/>
            </a:endParaRPr>
          </a:p>
        </p:txBody>
      </p:sp>
      <p:sp>
        <p:nvSpPr>
          <p:cNvPr id="88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1956" y="2054109"/>
            <a:ext cx="2525323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sz="1333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ТОО «</a:t>
            </a:r>
            <a:r>
              <a:rPr lang="en-US" sz="1333" b="1" u="sng" dirty="0" err="1">
                <a:solidFill>
                  <a:schemeClr val="tx1"/>
                </a:solidFill>
                <a:latin typeface="Arial Narrow" panose="020B0606020202030204" pitchFamily="34" charset="0"/>
              </a:rPr>
              <a:t>Hyndai</a:t>
            </a:r>
            <a:r>
              <a:rPr lang="en-US" sz="1333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 Trans Kazakhstan</a:t>
            </a:r>
            <a:r>
              <a:rPr lang="ru-RU" sz="1333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»</a:t>
            </a:r>
            <a:endParaRPr lang="ru-RU" sz="1200" b="1" u="sng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114297" algn="ctr"/>
            <a:r>
              <a:rPr lang="ru-RU" sz="1333" i="1" dirty="0">
                <a:solidFill>
                  <a:schemeClr val="tx1"/>
                </a:solidFill>
                <a:latin typeface="Arial Narrow" panose="020B0606020202030204" pitchFamily="34" charset="0"/>
              </a:rPr>
              <a:t>Производство легковых автомобилей </a:t>
            </a:r>
            <a:r>
              <a:rPr lang="en-US" sz="1333" i="1" dirty="0" err="1">
                <a:solidFill>
                  <a:schemeClr val="tx1"/>
                </a:solidFill>
                <a:latin typeface="Arial Narrow" panose="020B0606020202030204" pitchFamily="34" charset="0"/>
              </a:rPr>
              <a:t>Hundai</a:t>
            </a:r>
            <a:endParaRPr lang="ru-RU" altLang="ru-RU" sz="1330" i="1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938437" y="5373216"/>
            <a:ext cx="2630315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latinLnBrk="1"/>
            <a:r>
              <a:rPr lang="kk-KZ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  <a:cs typeface="Arial" pitchFamily="34" charset="0"/>
              </a:rPr>
              <a:t>Проектная мощность</a:t>
            </a:r>
            <a:r>
              <a:rPr lang="en-US" altLang="ko-KR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  <a:cs typeface="Arial" pitchFamily="34" charset="0"/>
              </a:rPr>
              <a:t>: </a:t>
            </a:r>
          </a:p>
          <a:p>
            <a:pPr algn="ctr" latinLnBrk="1"/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45 тыс. единиц в год</a:t>
            </a:r>
            <a:endParaRPr lang="kk-KZ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8954594" y="5877272"/>
            <a:ext cx="262351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latinLnBrk="1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Создано рабочих мест </a:t>
            </a:r>
            <a:r>
              <a:rPr lang="en-US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700</a:t>
            </a:r>
            <a:endParaRPr lang="ru-RU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10152990" y="1378081"/>
            <a:ext cx="135829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умма поддержки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7 млрд тенге</a:t>
            </a: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3437586" y="762390"/>
            <a:ext cx="2537488" cy="5412603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Arial Narrow" panose="020B0606020202030204" pitchFamily="34" charset="0"/>
            </a:endParaRP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5299" y="829217"/>
            <a:ext cx="1084858" cy="362359"/>
          </a:xfrm>
          <a:prstGeom prst="rect">
            <a:avLst/>
          </a:prstGeom>
        </p:spPr>
      </p:pic>
      <p:sp>
        <p:nvSpPr>
          <p:cNvPr id="100" name="Прямоугольник 99"/>
          <p:cNvSpPr/>
          <p:nvPr/>
        </p:nvSpPr>
        <p:spPr>
          <a:xfrm>
            <a:off x="4719670" y="1378081"/>
            <a:ext cx="125465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умма поддержки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4,2 млрд тенге</a:t>
            </a:r>
          </a:p>
        </p:txBody>
      </p:sp>
      <p:sp>
        <p:nvSpPr>
          <p:cNvPr id="101" name="Google Shape;362;p41">
            <a:extLst>
              <a:ext uri="{FF2B5EF4-FFF2-40B4-BE49-F238E27FC236}">
                <a16:creationId xmlns:a16="http://schemas.microsoft.com/office/drawing/2014/main" id="{C747B8DF-234B-D470-2E51-7B227FF00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5971" y="2050559"/>
            <a:ext cx="2864578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defPPr>
              <a:defRPr lang="x-none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4" algn="ctr"/>
            <a:r>
              <a:rPr lang="ru-RU" altLang="ru-RU" sz="1330" b="1" u="sng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ТОО «</a:t>
            </a:r>
            <a:r>
              <a:rPr lang="ru-RU" altLang="ru-RU" sz="1330" b="1" u="sng" dirty="0" err="1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Макинская</a:t>
            </a:r>
            <a:r>
              <a:rPr lang="ru-RU" altLang="ru-RU" sz="1330" b="1" u="sng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 птицефабрика» </a:t>
            </a:r>
          </a:p>
          <a:p>
            <a:pPr marL="114294" algn="ctr"/>
            <a:r>
              <a:rPr lang="ru-RU" altLang="ru-RU" sz="1330" i="1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Строительство трех очередей птицефабрики 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3450703" y="5445224"/>
            <a:ext cx="2524371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Проектная мощность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</a:t>
            </a:r>
            <a:r>
              <a:rPr lang="en-US" altLang="ko-KR" sz="1200" b="1" dirty="0">
                <a:solidFill>
                  <a:srgbClr val="3F794E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kk-KZ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90 тыс. </a:t>
            </a:r>
            <a:r>
              <a:rPr lang="ru-RU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мясо птицы в живом весе в год </a:t>
            </a:r>
            <a:endParaRPr lang="kk-KZ" altLang="ko-KR" sz="12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3437586" y="5888305"/>
            <a:ext cx="25442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latinLnBrk="1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Создано рабочих мест </a:t>
            </a:r>
            <a:r>
              <a:rPr lang="kk-KZ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1300</a:t>
            </a:r>
            <a:endParaRPr lang="ru-RU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3450703" y="3781489"/>
            <a:ext cx="25311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Увеличение </a:t>
            </a:r>
            <a:r>
              <a:rPr lang="kk-KZ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доли внутреннего </a:t>
            </a: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рынка </a:t>
            </a:r>
            <a:r>
              <a:rPr lang="ru-RU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до 33%.</a:t>
            </a:r>
            <a:r>
              <a:rPr lang="en-US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kk-KZ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Проект способствует </a:t>
            </a:r>
            <a:r>
              <a:rPr lang="ru-RU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обеспечению продовольственной безопасности</a:t>
            </a:r>
          </a:p>
        </p:txBody>
      </p:sp>
      <p:sp>
        <p:nvSpPr>
          <p:cNvPr id="109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1782" y="3552281"/>
            <a:ext cx="2592503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Особенности проекта:</a:t>
            </a:r>
          </a:p>
        </p:txBody>
      </p:sp>
      <p:sp>
        <p:nvSpPr>
          <p:cNvPr id="110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381" y="3588102"/>
            <a:ext cx="2592503" cy="846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Особенности проекта:</a:t>
            </a:r>
          </a:p>
          <a:p>
            <a:pPr marL="114297" algn="ctr"/>
            <a:r>
              <a:rPr lang="ru-RU" sz="1200" b="0" i="0" dirty="0">
                <a:solidFill>
                  <a:srgbClr val="0F1320"/>
                </a:solidFill>
                <a:effectLst/>
                <a:latin typeface="Arial Narrow" panose="020B0606020202030204" pitchFamily="34" charset="0"/>
              </a:rPr>
              <a:t>Выпуск современных легковых автомобили модельного ряда бренда Hyundai на новейшем оборудовании с применением передовых технологий Южной Кореи.</a:t>
            </a:r>
            <a:endParaRPr lang="ru-RU" altLang="ru-RU" sz="1200" b="1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437585" y="5085184"/>
            <a:ext cx="2524371" cy="27699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Ввод. в </a:t>
            </a:r>
            <a:r>
              <a:rPr lang="ru-RU" altLang="ko-KR" sz="1200" dirty="0" err="1">
                <a:latin typeface="Arial Narrow" panose="020B0606020202030204" pitchFamily="34" charset="0"/>
                <a:cs typeface="Arial" pitchFamily="34" charset="0"/>
              </a:rPr>
              <a:t>экспл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.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введен (2018-2022)</a:t>
            </a:r>
            <a:endParaRPr lang="kk-KZ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8983278" y="5085184"/>
            <a:ext cx="2585474" cy="27699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Ввод. в </a:t>
            </a:r>
            <a:r>
              <a:rPr lang="ru-RU" altLang="ko-KR" sz="1200" dirty="0" err="1">
                <a:latin typeface="Arial Narrow" panose="020B0606020202030204" pitchFamily="34" charset="0"/>
                <a:cs typeface="Arial" pitchFamily="34" charset="0"/>
              </a:rPr>
              <a:t>экспл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.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введен (2020 год)</a:t>
            </a:r>
            <a:endParaRPr lang="kk-KZ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3437585" y="2810251"/>
            <a:ext cx="253748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оимость проекта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3 млрд тенге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8961956" y="2780928"/>
            <a:ext cx="261615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оимость проекта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9 млрд тенге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BD886982-E904-31BB-F301-56EB5A848AD9}"/>
              </a:ext>
            </a:extLst>
          </p:cNvPr>
          <p:cNvSpPr/>
          <p:nvPr/>
        </p:nvSpPr>
        <p:spPr>
          <a:xfrm>
            <a:off x="6189601" y="748410"/>
            <a:ext cx="2537488" cy="5416893"/>
          </a:xfrm>
          <a:prstGeom prst="rect">
            <a:avLst/>
          </a:prstGeom>
          <a:noFill/>
          <a:ln w="3175">
            <a:solidFill>
              <a:srgbClr val="B4975A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Arial Narrow" panose="020B0606020202030204" pitchFamily="34" charset="0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7487540" y="1378814"/>
            <a:ext cx="122055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умма поддержки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6 млрд тенге</a:t>
            </a:r>
          </a:p>
        </p:txBody>
      </p:sp>
      <p:sp>
        <p:nvSpPr>
          <p:cNvPr id="121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211" y="2071234"/>
            <a:ext cx="2509713" cy="781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333" b="1" u="sng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ТОО «Проммашкомплект</a:t>
            </a:r>
            <a:r>
              <a:rPr lang="en-US" altLang="ru-RU" sz="1333" b="1" u="sng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»</a:t>
            </a:r>
            <a:endParaRPr lang="kk-KZ" altLang="ru-RU" sz="1333" b="1" u="sng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  <a:p>
            <a:pPr marL="114297" algn="ctr"/>
            <a:r>
              <a:rPr lang="ru-RU" altLang="ru-RU" sz="1333" i="1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Производство железнодорожных колес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6195780" y="5373216"/>
            <a:ext cx="2559993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Проектная мощность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 </a:t>
            </a:r>
          </a:p>
          <a:p>
            <a:pPr algn="ctr"/>
            <a:r>
              <a:rPr lang="kk-KZ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300 тыс. </a:t>
            </a:r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изделий в год 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218285" y="5895479"/>
            <a:ext cx="254428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latinLnBrk="1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Создано рабочих мест </a:t>
            </a:r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400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6218284" y="5085184"/>
            <a:ext cx="2524371" cy="27699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Ввод. в </a:t>
            </a:r>
            <a:r>
              <a:rPr lang="ru-RU" altLang="ko-KR" sz="1200" dirty="0" err="1">
                <a:latin typeface="Arial Narrow" panose="020B0606020202030204" pitchFamily="34" charset="0"/>
                <a:cs typeface="Arial" pitchFamily="34" charset="0"/>
              </a:rPr>
              <a:t>экспл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.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 </a:t>
            </a:r>
            <a:r>
              <a:rPr lang="ru-RU" altLang="ko-KR" sz="1200" b="1">
                <a:solidFill>
                  <a:srgbClr val="406D69"/>
                </a:solidFill>
                <a:latin typeface="Arial Narrow" panose="020B0606020202030204" pitchFamily="34" charset="0"/>
              </a:rPr>
              <a:t>введен </a:t>
            </a:r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(2018)</a:t>
            </a:r>
            <a:endParaRPr lang="kk-KZ" altLang="ko-KR" sz="12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126" name="Google Shape;362;p41">
            <a:extLst>
              <a:ext uri="{FF2B5EF4-FFF2-40B4-BE49-F238E27FC236}">
                <a16:creationId xmlns:a16="http://schemas.microsoft.com/office/drawing/2014/main" id="{2FCFA800-40D3-D555-0F64-6CF91B277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9268" y="3560953"/>
            <a:ext cx="2537821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Особенности проекта:</a:t>
            </a:r>
          </a:p>
        </p:txBody>
      </p:sp>
      <p:sp>
        <p:nvSpPr>
          <p:cNvPr id="127" name="Прямоугольник 126"/>
          <p:cNvSpPr/>
          <p:nvPr/>
        </p:nvSpPr>
        <p:spPr>
          <a:xfrm>
            <a:off x="6203942" y="2784721"/>
            <a:ext cx="254122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оимость проекта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4,1 млрд тенге</a:t>
            </a:r>
          </a:p>
        </p:txBody>
      </p:sp>
      <p:pic>
        <p:nvPicPr>
          <p:cNvPr id="3" name="Рисунок 35">
            <a:extLst>
              <a:ext uri="{FF2B5EF4-FFF2-40B4-BE49-F238E27FC236}">
                <a16:creationId xmlns:a16="http://schemas.microsoft.com/office/drawing/2014/main" id="{B63401FD-47BD-6ECF-FCD7-280126049A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1534" y="874783"/>
            <a:ext cx="1154046" cy="88755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8B3EA79-C708-C6A7-7D7E-7397973C96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9344" y="810430"/>
            <a:ext cx="1076595" cy="35959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1AF24DD-F865-883E-0466-335B92F6A40F}"/>
              </a:ext>
            </a:extLst>
          </p:cNvPr>
          <p:cNvSpPr/>
          <p:nvPr/>
        </p:nvSpPr>
        <p:spPr>
          <a:xfrm>
            <a:off x="6254971" y="3808390"/>
            <a:ext cx="25311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Единственное крупное производство</a:t>
            </a:r>
            <a:endParaRPr lang="en-US" sz="1200" dirty="0">
              <a:solidFill>
                <a:srgbClr val="000000"/>
              </a:solidFill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algn="ctr"/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 в РК </a:t>
            </a:r>
            <a:r>
              <a:rPr lang="ru-RU" sz="1200" dirty="0"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цельнокатаных колес имеющее высокий экспортный потенциал и замещающее импорт продукции </a:t>
            </a:r>
            <a:endParaRPr lang="ru-RU" sz="1200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27D32AE-FB8C-70A2-BD28-B3C724E156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5515" y="831977"/>
            <a:ext cx="1076595" cy="359599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AF8A16A-61EC-E1BC-BCF7-7F53737494C2}"/>
              </a:ext>
            </a:extLst>
          </p:cNvPr>
          <p:cNvSpPr/>
          <p:nvPr/>
        </p:nvSpPr>
        <p:spPr>
          <a:xfrm>
            <a:off x="623247" y="752700"/>
            <a:ext cx="2537488" cy="544413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0">
              <a:latin typeface="Arial Narrow" panose="020B060602020203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A35A1A0-8FD5-EF8E-CDCD-8EB1093647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1925" y="879736"/>
            <a:ext cx="1220559" cy="887242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489D5E3-27B3-9D54-2846-640F9BC97F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93929" y="885354"/>
            <a:ext cx="1169932" cy="89863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38C6C8D-2641-CBD4-3ED7-E1925ACB31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3338" y="829217"/>
            <a:ext cx="1084858" cy="362359"/>
          </a:xfrm>
          <a:prstGeom prst="rect">
            <a:avLst/>
          </a:prstGeom>
        </p:spPr>
      </p:pic>
      <p:sp>
        <p:nvSpPr>
          <p:cNvPr id="15" name="Google Shape;362;p41">
            <a:extLst>
              <a:ext uri="{FF2B5EF4-FFF2-40B4-BE49-F238E27FC236}">
                <a16:creationId xmlns:a16="http://schemas.microsoft.com/office/drawing/2014/main" id="{E2F75A70-8887-A35A-7E65-EBA5348F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393" y="2051630"/>
            <a:ext cx="2864578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defPPr>
              <a:defRPr lang="x-none"/>
            </a:defPPr>
            <a:lvl1pPr marL="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294" algn="ctr"/>
            <a:r>
              <a:rPr lang="ru-RU" altLang="ru-RU" sz="1330" b="1" u="sng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ТОО «</a:t>
            </a:r>
            <a:r>
              <a:rPr lang="en-US" altLang="ru-RU" sz="1330" b="1" u="sng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Asia </a:t>
            </a:r>
            <a:r>
              <a:rPr lang="en-US" altLang="ru-RU" sz="1330" b="1" u="sng" dirty="0" err="1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Trafo</a:t>
            </a:r>
            <a:r>
              <a:rPr lang="ru-RU" altLang="ru-RU" sz="1330" b="1" u="sng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» </a:t>
            </a:r>
          </a:p>
          <a:p>
            <a:pPr marL="114294" algn="ctr"/>
            <a:r>
              <a:rPr lang="kk-KZ" altLang="ru-RU" sz="1330" i="1" dirty="0">
                <a:latin typeface="Arial Narrow" panose="020B0606020202030204" pitchFamily="34" charset="0"/>
                <a:cs typeface="Arial" panose="020B0604020202020204" pitchFamily="34" charset="0"/>
                <a:sym typeface="Arial Narrow" panose="020B0606020202030204" pitchFamily="34" charset="0"/>
              </a:rPr>
              <a:t>Производство силовых трансформаторов</a:t>
            </a:r>
            <a:endParaRPr lang="ru-RU" altLang="ru-RU" sz="1330" i="1" dirty="0">
              <a:latin typeface="Arial Narrow" panose="020B0606020202030204" pitchFamily="34" charset="0"/>
              <a:cs typeface="Arial" panose="020B0604020202020204" pitchFamily="34" charset="0"/>
              <a:sym typeface="Arial Narrow" panose="020B060602020203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FD44BA3-F4EC-B1FD-CE03-B8BA6DE3BF70}"/>
              </a:ext>
            </a:extLst>
          </p:cNvPr>
          <p:cNvSpPr/>
          <p:nvPr/>
        </p:nvSpPr>
        <p:spPr>
          <a:xfrm>
            <a:off x="754593" y="2806872"/>
            <a:ext cx="253748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оимость проекта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9 млрд тенге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3AA0765-4D4F-2EAC-EB1B-26CAA08887F0}"/>
              </a:ext>
            </a:extLst>
          </p:cNvPr>
          <p:cNvSpPr/>
          <p:nvPr/>
        </p:nvSpPr>
        <p:spPr>
          <a:xfrm>
            <a:off x="1906058" y="1383990"/>
            <a:ext cx="125465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умма поддержки </a:t>
            </a:r>
            <a:r>
              <a:rPr lang="ru-RU" sz="1100" b="1" dirty="0">
                <a:solidFill>
                  <a:srgbClr val="AE8705"/>
                </a:solidFill>
                <a:latin typeface="Arial Narrow" panose="020B0606020202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,5 млрд тенге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1F0383B-E81D-0812-5521-5B8327DE7B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5913" y="948055"/>
            <a:ext cx="1164032" cy="832961"/>
          </a:xfrm>
          <a:prstGeom prst="rect">
            <a:avLst/>
          </a:prstGeom>
        </p:spPr>
      </p:pic>
      <p:sp>
        <p:nvSpPr>
          <p:cNvPr id="20" name="Google Shape;362;p41">
            <a:extLst>
              <a:ext uri="{FF2B5EF4-FFF2-40B4-BE49-F238E27FC236}">
                <a16:creationId xmlns:a16="http://schemas.microsoft.com/office/drawing/2014/main" id="{D8A23681-F028-3468-D64B-E7C9AA77B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93" y="3542500"/>
            <a:ext cx="2592503" cy="46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/>
          <a:lstStyle>
            <a:lvl1pPr marL="762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114297" algn="ctr"/>
            <a:r>
              <a:rPr lang="ru-RU" altLang="ru-RU" sz="1200" b="1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Особенности проекта: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92747F66-8D2E-51E5-407B-B5E444486329}"/>
              </a:ext>
            </a:extLst>
          </p:cNvPr>
          <p:cNvSpPr/>
          <p:nvPr/>
        </p:nvSpPr>
        <p:spPr>
          <a:xfrm>
            <a:off x="604700" y="3775866"/>
            <a:ext cx="25311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Первый производитель крупных силовых трансформаторов в РК для напряжения до 500 кв. Ранее данное производство в Центральной Азии не было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3125EB7-9876-32E4-532F-A99C4A887A06}"/>
              </a:ext>
            </a:extLst>
          </p:cNvPr>
          <p:cNvSpPr/>
          <p:nvPr/>
        </p:nvSpPr>
        <p:spPr>
          <a:xfrm>
            <a:off x="714101" y="5096217"/>
            <a:ext cx="2524371" cy="27699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Ввод. в </a:t>
            </a:r>
            <a:r>
              <a:rPr lang="ru-RU" altLang="ko-KR" sz="1200" dirty="0" err="1">
                <a:latin typeface="Arial Narrow" panose="020B0606020202030204" pitchFamily="34" charset="0"/>
                <a:cs typeface="Arial" pitchFamily="34" charset="0"/>
              </a:rPr>
              <a:t>экспл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.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 </a:t>
            </a:r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введен (2019)</a:t>
            </a:r>
            <a:endParaRPr lang="kk-KZ" altLang="ko-KR" sz="1600" b="1" dirty="0">
              <a:solidFill>
                <a:srgbClr val="406D69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F7A35F2-C70D-E0CA-F5BB-B5121932C27A}"/>
              </a:ext>
            </a:extLst>
          </p:cNvPr>
          <p:cNvSpPr/>
          <p:nvPr/>
        </p:nvSpPr>
        <p:spPr>
          <a:xfrm>
            <a:off x="621657" y="5400905"/>
            <a:ext cx="2524371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kk-KZ" altLang="ko-KR" sz="1200" dirty="0">
                <a:latin typeface="Arial Narrow" panose="020B0606020202030204" pitchFamily="34" charset="0"/>
                <a:cs typeface="Arial" pitchFamily="34" charset="0"/>
              </a:rPr>
              <a:t>Проектная мощность</a:t>
            </a:r>
            <a:r>
              <a:rPr lang="en-US" altLang="ko-KR" sz="1200" dirty="0">
                <a:latin typeface="Arial Narrow" panose="020B0606020202030204" pitchFamily="34" charset="0"/>
                <a:cs typeface="Arial" pitchFamily="34" charset="0"/>
              </a:rPr>
              <a:t>: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ru-RU" altLang="ko-KR" sz="1200" b="1" dirty="0">
                <a:solidFill>
                  <a:srgbClr val="406D69"/>
                </a:solidFill>
                <a:latin typeface="Arial Narrow" panose="020B0606020202030204" pitchFamily="34" charset="0"/>
              </a:rPr>
              <a:t>120</a:t>
            </a:r>
            <a:r>
              <a:rPr lang="ru-RU" altLang="ko-KR" sz="1200" b="1" dirty="0">
                <a:solidFill>
                  <a:srgbClr val="007A40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altLang="ko-KR" sz="1200" dirty="0">
                <a:latin typeface="Arial Narrow" panose="020B0606020202030204" pitchFamily="34" charset="0"/>
                <a:cs typeface="Arial" pitchFamily="34" charset="0"/>
              </a:rPr>
              <a:t>трансформаторов в год</a:t>
            </a:r>
            <a:r>
              <a:rPr lang="en-US" altLang="ko-KR" sz="1200" b="1" dirty="0">
                <a:solidFill>
                  <a:srgbClr val="3F794E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ru-RU" sz="1200" dirty="0"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endParaRPr lang="kk-KZ" altLang="ko-KR" sz="1200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60BCD86-0FE4-7BCB-A7E5-A03D56A9A89C}"/>
              </a:ext>
            </a:extLst>
          </p:cNvPr>
          <p:cNvSpPr txBox="1"/>
          <p:nvPr/>
        </p:nvSpPr>
        <p:spPr>
          <a:xfrm>
            <a:off x="669278" y="5871538"/>
            <a:ext cx="2544287" cy="276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ru-RU"/>
            </a:defPPr>
            <a:lvl1pPr algn="ctr" latinLnBrk="1">
              <a:defRPr sz="120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  <a:cs typeface="Arial" pitchFamily="34" charset="0"/>
              </a:defRPr>
            </a:lvl1pPr>
          </a:lstStyle>
          <a:p>
            <a:r>
              <a:rPr lang="kk-KZ" altLang="ko-KR" dirty="0">
                <a:solidFill>
                  <a:schemeClr val="tx1"/>
                </a:solidFill>
              </a:rPr>
              <a:t>Создано рабочих мест </a:t>
            </a:r>
            <a:r>
              <a:rPr lang="kk-KZ" altLang="ko-KR" b="1" dirty="0">
                <a:solidFill>
                  <a:srgbClr val="406D69"/>
                </a:solidFill>
              </a:rPr>
              <a:t>220</a:t>
            </a:r>
            <a:endParaRPr lang="ru-RU" altLang="ko-KR" b="1" dirty="0">
              <a:solidFill>
                <a:srgbClr val="406D69"/>
              </a:solidFill>
            </a:endParaRPr>
          </a:p>
        </p:txBody>
      </p:sp>
      <p:pic>
        <p:nvPicPr>
          <p:cNvPr id="2" name="Picture 3">
            <a:extLst>
              <a:ext uri="{FF2B5EF4-FFF2-40B4-BE49-F238E27FC236}">
                <a16:creationId xmlns:a16="http://schemas.microsoft.com/office/drawing/2014/main" id="{324C6092-D244-41D4-860F-4D3BC23C98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808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353C68B-7944-BA72-1BFE-EE6FF3CF0B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5" name="Прямая соединительная линия 34">
            <a:extLst>
              <a:ext uri="{FF2B5EF4-FFF2-40B4-BE49-F238E27FC236}">
                <a16:creationId xmlns:a16="http://schemas.microsoft.com/office/drawing/2014/main" id="{2CCDB0A6-6128-E038-CC5B-72DF2948F11E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36">
            <a:extLst>
              <a:ext uri="{FF2B5EF4-FFF2-40B4-BE49-F238E27FC236}">
                <a16:creationId xmlns:a16="http://schemas.microsoft.com/office/drawing/2014/main" id="{B09EBE15-B61B-45A9-82B6-6C78AFC9389E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C78C4F3-0B0A-419D-0B01-286B659CEC3C}"/>
              </a:ext>
            </a:extLst>
          </p:cNvPr>
          <p:cNvSpPr txBox="1"/>
          <p:nvPr/>
        </p:nvSpPr>
        <p:spPr>
          <a:xfrm>
            <a:off x="1425" y="50721"/>
            <a:ext cx="10366964" cy="3539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b="1" dirty="0">
                <a:latin typeface="Arial Narrow" panose="020B0606020202030204" pitchFamily="34" charset="0"/>
                <a:ea typeface="+mj-ea"/>
                <a:cs typeface="+mj-cs"/>
              </a:rPr>
              <a:t>РОСТ ЭКСПОРТА КАЗАХСТАНСКОГО РАСТИТЕЛЬНОГО МАСЛА ВЫРОС В 4,4 РАЗА ЗА ПОСЛЕДНИЕ ПЯТЬ ЛЕ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33D706-11C4-0742-D36F-DDF3D0E6C2C7}"/>
              </a:ext>
            </a:extLst>
          </p:cNvPr>
          <p:cNvSpPr txBox="1"/>
          <p:nvPr/>
        </p:nvSpPr>
        <p:spPr>
          <a:xfrm>
            <a:off x="433788" y="5550844"/>
            <a:ext cx="10972944" cy="830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b="1" dirty="0">
                <a:solidFill>
                  <a:srgbClr val="AE8705"/>
                </a:solidFill>
                <a:latin typeface="Arial Narrow" panose="020B0606020202030204" pitchFamily="34" charset="0"/>
              </a:rPr>
              <a:t>Отмечаются рекордными объемы экспорта подсолнечного масла из Казахстана. </a:t>
            </a:r>
            <a:r>
              <a:rPr lang="ru-RU" sz="1199" dirty="0">
                <a:latin typeface="Arial Narrow" panose="020B0606020202030204" pitchFamily="34" charset="0"/>
              </a:rPr>
              <a:t>С 2015 года по 2022 год экспорт вырос в 8 раз в натуральном выражении. </a:t>
            </a:r>
            <a:r>
              <a:rPr lang="ru-RU" sz="1199" b="1" dirty="0">
                <a:solidFill>
                  <a:srgbClr val="AE8705"/>
                </a:solidFill>
                <a:latin typeface="Arial Narrow" panose="020B0606020202030204" pitchFamily="34" charset="0"/>
              </a:rPr>
              <a:t>На фоне роста экспорта подсолнечного масла отмечается снижение объемов экспорта семян подсолнечника</a:t>
            </a:r>
            <a:r>
              <a:rPr lang="ru-RU" sz="1199" dirty="0">
                <a:solidFill>
                  <a:srgbClr val="AE8705"/>
                </a:solidFill>
                <a:latin typeface="Arial Narrow" panose="020B0606020202030204" pitchFamily="34" charset="0"/>
              </a:rPr>
              <a:t>.</a:t>
            </a:r>
            <a:r>
              <a:rPr lang="ru-RU" sz="1199" dirty="0">
                <a:latin typeface="Arial Narrow" panose="020B0606020202030204" pitchFamily="34" charset="0"/>
              </a:rPr>
              <a:t> В 2022 году показатели, по отношению к 2019 году (когда наблюдались рекордные значения в 535,0 тыс. тонн), заметно снизились и составили 347 тыс. тонн, при этом фактические данные по экспорту казахстанского подсолнечника значительно ниже, так как наблюдается большой объем импорта подсолнечника и как следствие, его реэкспорт.</a:t>
            </a:r>
          </a:p>
        </p:txBody>
      </p:sp>
      <p:sp>
        <p:nvSpPr>
          <p:cNvPr id="9" name="Заголовок 7">
            <a:extLst>
              <a:ext uri="{FF2B5EF4-FFF2-40B4-BE49-F238E27FC236}">
                <a16:creationId xmlns:a16="http://schemas.microsoft.com/office/drawing/2014/main" id="{4653DD96-056B-F85B-EB15-9B7705EBAAC7}"/>
              </a:ext>
            </a:extLst>
          </p:cNvPr>
          <p:cNvSpPr txBox="1">
            <a:spLocks/>
          </p:cNvSpPr>
          <p:nvPr/>
        </p:nvSpPr>
        <p:spPr>
          <a:xfrm>
            <a:off x="195941" y="548680"/>
            <a:ext cx="8052868" cy="391030"/>
          </a:xfrm>
          <a:prstGeom prst="rect">
            <a:avLst/>
          </a:prstGeom>
        </p:spPr>
        <p:txBody>
          <a:bodyPr vert="horz" lIns="162363" tIns="81181" rIns="162363" bIns="81181" rtlCol="0" anchor="t">
            <a:noAutofit/>
          </a:bodyPr>
          <a:lstStyle>
            <a:lvl1pPr algn="l" defTabSz="1218810" rtl="0" eaLnBrk="1" latinLnBrk="0" hangingPunct="1">
              <a:spcBef>
                <a:spcPct val="0"/>
              </a:spcBef>
              <a:buNone/>
              <a:defRPr sz="2800" b="1" i="0" u="none" strike="noStrike" kern="1200" baseline="0">
                <a:solidFill>
                  <a:srgbClr val="DEB500"/>
                </a:solidFill>
                <a:effectLst/>
                <a:latin typeface="DS FreeSet" pitchFamily="50" charset="-52"/>
                <a:ea typeface="+mj-ea"/>
                <a:cs typeface="+mj-cs"/>
              </a:defRPr>
            </a:lvl1pPr>
          </a:lstStyle>
          <a:p>
            <a:pPr defTabSz="1623577">
              <a:defRPr/>
            </a:pPr>
            <a:r>
              <a:rPr lang="kk-KZ" sz="1865" kern="0" dirty="0">
                <a:solidFill>
                  <a:schemeClr val="tx1"/>
                </a:solidFill>
                <a:latin typeface="Arial Narrow" panose="020B0606020202030204" pitchFamily="34" charset="0"/>
                <a:cs typeface="MV Boli" panose="02000500030200090000" pitchFamily="2" charset="0"/>
              </a:rPr>
              <a:t>Казахстанские экспортеры растительного масла, поддерживаемые БРК:</a:t>
            </a:r>
            <a:endParaRPr lang="ru-RU" sz="1865" kern="0" dirty="0">
              <a:solidFill>
                <a:schemeClr val="tx1"/>
              </a:solidFill>
              <a:latin typeface="Arial Narrow" panose="020B0606020202030204" pitchFamily="34" charset="0"/>
              <a:cs typeface="MV Boli" panose="02000500030200090000" pitchFamily="2" charset="0"/>
            </a:endParaRPr>
          </a:p>
        </p:txBody>
      </p:sp>
      <p:pic>
        <p:nvPicPr>
          <p:cNvPr id="10" name="Рисунок 7">
            <a:extLst>
              <a:ext uri="{FF2B5EF4-FFF2-40B4-BE49-F238E27FC236}">
                <a16:creationId xmlns:a16="http://schemas.microsoft.com/office/drawing/2014/main" id="{DCD5CF2B-D0C3-382D-7171-C8F1AA0D6E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38" y="1135297"/>
            <a:ext cx="805830" cy="729723"/>
          </a:xfrm>
          <a:prstGeom prst="rect">
            <a:avLst/>
          </a:prstGeom>
        </p:spPr>
      </p:pic>
      <p:pic>
        <p:nvPicPr>
          <p:cNvPr id="11" name="Рисунок 9">
            <a:extLst>
              <a:ext uri="{FF2B5EF4-FFF2-40B4-BE49-F238E27FC236}">
                <a16:creationId xmlns:a16="http://schemas.microsoft.com/office/drawing/2014/main" id="{B11E3FE4-444E-25D0-DA73-843BF93E04A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13" y="1135297"/>
            <a:ext cx="1011974" cy="692339"/>
          </a:xfrm>
          <a:prstGeom prst="rect">
            <a:avLst/>
          </a:prstGeom>
        </p:spPr>
      </p:pic>
      <p:pic>
        <p:nvPicPr>
          <p:cNvPr id="12" name="Рисунок 10">
            <a:extLst>
              <a:ext uri="{FF2B5EF4-FFF2-40B4-BE49-F238E27FC236}">
                <a16:creationId xmlns:a16="http://schemas.microsoft.com/office/drawing/2014/main" id="{FE9670CB-952A-9D37-3A07-4BB54682F8E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405" y="1052736"/>
            <a:ext cx="1288530" cy="857458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B1312D4-7BEA-B3F5-B0D2-E41568AD19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375" y="1156852"/>
            <a:ext cx="1460151" cy="628290"/>
          </a:xfrm>
          <a:prstGeom prst="rect">
            <a:avLst/>
          </a:prstGeom>
        </p:spPr>
      </p:pic>
      <p:sp>
        <p:nvSpPr>
          <p:cNvPr id="14" name="Заголовок 7">
            <a:extLst>
              <a:ext uri="{FF2B5EF4-FFF2-40B4-BE49-F238E27FC236}">
                <a16:creationId xmlns:a16="http://schemas.microsoft.com/office/drawing/2014/main" id="{F3492D83-135C-7304-468D-457B36CFCD94}"/>
              </a:ext>
            </a:extLst>
          </p:cNvPr>
          <p:cNvSpPr txBox="1">
            <a:spLocks/>
          </p:cNvSpPr>
          <p:nvPr/>
        </p:nvSpPr>
        <p:spPr>
          <a:xfrm>
            <a:off x="291164" y="2658135"/>
            <a:ext cx="9012053" cy="482833"/>
          </a:xfrm>
          <a:prstGeom prst="rect">
            <a:avLst/>
          </a:prstGeom>
        </p:spPr>
        <p:txBody>
          <a:bodyPr vert="horz" lIns="162363" tIns="81181" rIns="162363" bIns="81181" rtlCol="0" anchor="t">
            <a:noAutofit/>
          </a:bodyPr>
          <a:lstStyle>
            <a:lvl1pPr algn="l" defTabSz="1218810" rtl="0" eaLnBrk="1" latinLnBrk="0" hangingPunct="1">
              <a:spcBef>
                <a:spcPct val="0"/>
              </a:spcBef>
              <a:buNone/>
              <a:defRPr sz="2800" b="1" i="0" u="none" strike="noStrike" kern="1200" baseline="0">
                <a:solidFill>
                  <a:srgbClr val="DEB500"/>
                </a:solidFill>
                <a:effectLst/>
                <a:latin typeface="DS FreeSet" pitchFamily="50" charset="-52"/>
                <a:ea typeface="+mj-ea"/>
                <a:cs typeface="+mj-cs"/>
              </a:defRPr>
            </a:lvl1pPr>
          </a:lstStyle>
          <a:p>
            <a:pPr defTabSz="1623577">
              <a:defRPr/>
            </a:pPr>
            <a:r>
              <a:rPr lang="kk-KZ" sz="1865" kern="0" dirty="0">
                <a:solidFill>
                  <a:schemeClr val="tx1"/>
                </a:solidFill>
                <a:latin typeface="Arial Narrow" panose="020B0606020202030204" pitchFamily="34" charset="0"/>
                <a:cs typeface="MV Boli" panose="02000500030200090000" pitchFamily="2" charset="0"/>
              </a:rPr>
              <a:t>Динамика товарооборота семян подсолнечника и подсолнечного масла в РК:</a:t>
            </a:r>
            <a:endParaRPr lang="ru-RU" sz="1865" kern="0" dirty="0">
              <a:solidFill>
                <a:schemeClr val="tx1"/>
              </a:solidFill>
              <a:latin typeface="Arial Narrow" panose="020B0606020202030204" pitchFamily="34" charset="0"/>
              <a:cs typeface="MV Boli" panose="02000500030200090000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FB17E9-F5CF-937D-11AE-6914B3B6BE6F}"/>
              </a:ext>
            </a:extLst>
          </p:cNvPr>
          <p:cNvSpPr txBox="1"/>
          <p:nvPr/>
        </p:nvSpPr>
        <p:spPr>
          <a:xfrm>
            <a:off x="6096001" y="1069668"/>
            <a:ext cx="5310732" cy="830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b="1" dirty="0">
                <a:latin typeface="Arial Narrow" panose="020B0606020202030204" pitchFamily="34" charset="0"/>
              </a:rPr>
              <a:t>После получения экспортной поддержки, </a:t>
            </a:r>
            <a:r>
              <a:rPr lang="ru-RU" sz="1199" b="1" dirty="0" err="1">
                <a:latin typeface="Arial Narrow" panose="020B0606020202030204" pitchFamily="34" charset="0"/>
              </a:rPr>
              <a:t>маслоперерабатывающие</a:t>
            </a:r>
            <a:r>
              <a:rPr lang="ru-RU" sz="1199" b="1" dirty="0">
                <a:latin typeface="Arial Narrow" panose="020B0606020202030204" pitchFamily="34" charset="0"/>
              </a:rPr>
              <a:t> предприятия реализовали инвестиционные проекты по созданию трех крупных новых масложировых комбинатов, общей мощностью около 900 тыс. тонн переработки в год и модернизации действующих производств.</a:t>
            </a:r>
            <a:endParaRPr lang="ru-RU" sz="1199" dirty="0">
              <a:latin typeface="Arial Narrow" panose="020B060602020203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77C2B1B-6D73-6E72-1E87-5AAAD926C5FE}"/>
              </a:ext>
            </a:extLst>
          </p:cNvPr>
          <p:cNvSpPr/>
          <p:nvPr/>
        </p:nvSpPr>
        <p:spPr>
          <a:xfrm>
            <a:off x="144540" y="1829926"/>
            <a:ext cx="1243835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2015 г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5 млрд. тенге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EA9D8A1-6F78-8BAF-5C65-9294BA1979DA}"/>
              </a:ext>
            </a:extLst>
          </p:cNvPr>
          <p:cNvSpPr/>
          <p:nvPr/>
        </p:nvSpPr>
        <p:spPr>
          <a:xfrm>
            <a:off x="1473881" y="1818751"/>
            <a:ext cx="1243835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2018 г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12 млрд. тенге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7824E16-8ED0-68F0-926A-9977B1BB62D4}"/>
              </a:ext>
            </a:extLst>
          </p:cNvPr>
          <p:cNvSpPr/>
          <p:nvPr/>
        </p:nvSpPr>
        <p:spPr>
          <a:xfrm>
            <a:off x="2969334" y="1836495"/>
            <a:ext cx="1282796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2020 г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34 млрд. тенге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1A45437-D8B1-1420-DCDA-B4B5B4AC4C20}"/>
              </a:ext>
            </a:extLst>
          </p:cNvPr>
          <p:cNvSpPr/>
          <p:nvPr/>
        </p:nvSpPr>
        <p:spPr>
          <a:xfrm>
            <a:off x="4300600" y="1825320"/>
            <a:ext cx="1282796" cy="461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2017 г. – </a:t>
            </a:r>
          </a:p>
          <a:p>
            <a:pPr algn="ctr">
              <a:defRPr/>
            </a:pPr>
            <a:r>
              <a:rPr lang="ru-RU" sz="1199" b="1" dirty="0">
                <a:solidFill>
                  <a:srgbClr val="B28E11"/>
                </a:solidFill>
                <a:latin typeface="Arial Narrow" panose="020B0606020202030204" pitchFamily="34" charset="0"/>
              </a:rPr>
              <a:t>4 млрд. тенге</a:t>
            </a:r>
          </a:p>
        </p:txBody>
      </p:sp>
      <p:graphicFrame>
        <p:nvGraphicFramePr>
          <p:cNvPr id="20" name="Диаграмма 3">
            <a:extLst>
              <a:ext uri="{FF2B5EF4-FFF2-40B4-BE49-F238E27FC236}">
                <a16:creationId xmlns:a16="http://schemas.microsoft.com/office/drawing/2014/main" id="{EBC8E741-9D29-B23B-4445-A21B89D42F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1803053"/>
              </p:ext>
            </p:extLst>
          </p:nvPr>
        </p:nvGraphicFramePr>
        <p:xfrm>
          <a:off x="433787" y="3037422"/>
          <a:ext cx="5451852" cy="249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1" name="Диаграмма 11">
            <a:extLst>
              <a:ext uri="{FF2B5EF4-FFF2-40B4-BE49-F238E27FC236}">
                <a16:creationId xmlns:a16="http://schemas.microsoft.com/office/drawing/2014/main" id="{43E59CC8-DD78-58E4-26E6-0233711F5C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3624209"/>
              </p:ext>
            </p:extLst>
          </p:nvPr>
        </p:nvGraphicFramePr>
        <p:xfrm>
          <a:off x="5872915" y="3016971"/>
          <a:ext cx="5476020" cy="2431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2" name="Номер слайда 2053">
            <a:extLst>
              <a:ext uri="{FF2B5EF4-FFF2-40B4-BE49-F238E27FC236}">
                <a16:creationId xmlns:a16="http://schemas.microsoft.com/office/drawing/2014/main" id="{41F29714-AA84-6DD8-B918-7A7EBA5502C8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kk-KZ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8</a:t>
            </a:r>
            <a:endParaRPr lang="ru-RU" sz="2000" dirty="0">
              <a:solidFill>
                <a:srgbClr val="B4975A"/>
              </a:solidFill>
              <a:latin typeface="Arial Narrow" panose="020B0606020202030204" pitchFamily="34" charset="0"/>
              <a:ea typeface="BatangChe" panose="02030609000101010101" pitchFamily="49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A169C3-DCDD-A824-0C66-F9E8719B6156}"/>
              </a:ext>
            </a:extLst>
          </p:cNvPr>
          <p:cNvSpPr txBox="1"/>
          <p:nvPr/>
        </p:nvSpPr>
        <p:spPr>
          <a:xfrm>
            <a:off x="451648" y="6381328"/>
            <a:ext cx="10955084" cy="4384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99" dirty="0">
                <a:latin typeface="Arial Narrow" panose="020B0606020202030204" pitchFamily="34" charset="0"/>
              </a:rPr>
              <a:t>*Информация отражена в соответствии с данными </a:t>
            </a:r>
            <a:r>
              <a:rPr lang="en-US" sz="1199" dirty="0" err="1">
                <a:latin typeface="Arial Narrow" panose="020B0606020202030204" pitchFamily="34" charset="0"/>
              </a:rPr>
              <a:t>Qazstat</a:t>
            </a:r>
            <a:r>
              <a:rPr lang="ru-RU" sz="1199" dirty="0">
                <a:latin typeface="Arial Narrow" panose="020B0606020202030204" pitchFamily="34" charset="0"/>
              </a:rPr>
              <a:t> по коду ТНВЭД 1512 </a:t>
            </a:r>
            <a:r>
              <a:rPr lang="ru-RU" sz="1050" dirty="0">
                <a:latin typeface="Arial Narrow" panose="020B0606020202030204" pitchFamily="34" charset="0"/>
              </a:rPr>
              <a:t>(масло подсолнечное, </a:t>
            </a:r>
            <a:r>
              <a:rPr lang="ru-RU" sz="1050" dirty="0" err="1">
                <a:latin typeface="Arial Narrow" panose="020B0606020202030204" pitchFamily="34" charset="0"/>
              </a:rPr>
              <a:t>сафлоровое</a:t>
            </a:r>
            <a:r>
              <a:rPr lang="ru-RU" sz="1050" dirty="0">
                <a:latin typeface="Arial Narrow" panose="020B0606020202030204" pitchFamily="34" charset="0"/>
              </a:rPr>
              <a:t> или хлопковое и их фракции, нерафинированные или рафинированные, но без изменения химического состава).</a:t>
            </a:r>
            <a:endParaRPr lang="ru-RU" sz="1199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600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7158FB80-3EF0-45FF-A88C-9267C393F156}"/>
              </a:ext>
            </a:extLst>
          </p:cNvPr>
          <p:cNvSpPr/>
          <p:nvPr/>
        </p:nvSpPr>
        <p:spPr>
          <a:xfrm>
            <a:off x="472809" y="2669976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ФЕЛЬ ПРОЕКТОВ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278D2599-0EE4-4AA5-A72C-4E3471EACD1A}"/>
              </a:ext>
            </a:extLst>
          </p:cNvPr>
          <p:cNvSpPr/>
          <p:nvPr/>
        </p:nvSpPr>
        <p:spPr>
          <a:xfrm>
            <a:off x="4282280" y="2660569"/>
            <a:ext cx="7557295" cy="3605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74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тенге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06A2FB5-066C-4D08-BAA1-801E5515C914}"/>
              </a:ext>
            </a:extLst>
          </p:cNvPr>
          <p:cNvSpPr txBox="1">
            <a:spLocks/>
          </p:cNvSpPr>
          <p:nvPr/>
        </p:nvSpPr>
        <p:spPr>
          <a:xfrm>
            <a:off x="347724" y="410513"/>
            <a:ext cx="10068880" cy="36217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b="1" dirty="0"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86AFFA4-17B7-4334-A64D-E040ACC0ACF5}"/>
              </a:ext>
            </a:extLst>
          </p:cNvPr>
          <p:cNvSpPr/>
          <p:nvPr/>
        </p:nvSpPr>
        <p:spPr>
          <a:xfrm>
            <a:off x="4282280" y="3131126"/>
            <a:ext cx="7909720" cy="59574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3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делки на сумму </a:t>
            </a:r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6,5</a:t>
            </a:r>
            <a:r>
              <a:rPr lang="ru-RU" sz="20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тенге за 2022 год</a:t>
            </a:r>
          </a:p>
          <a:p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25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делок на сумму 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287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тенге за 6 лет)</a:t>
            </a:r>
            <a:endParaRPr lang="ru-RU" sz="1100" dirty="0">
              <a:solidFill>
                <a:schemeClr val="tx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89147E4-CC7E-499C-9CEB-FD99AD678CF8}"/>
              </a:ext>
            </a:extLst>
          </p:cNvPr>
          <p:cNvSpPr/>
          <p:nvPr/>
        </p:nvSpPr>
        <p:spPr>
          <a:xfrm>
            <a:off x="472809" y="3831208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ВЛЕЧЕНО ИНВЕСТИЦИЙ 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72C5A79-14CC-4329-8710-FA2BD48044F3}"/>
              </a:ext>
            </a:extLst>
          </p:cNvPr>
          <p:cNvSpPr/>
          <p:nvPr/>
        </p:nvSpPr>
        <p:spPr>
          <a:xfrm>
            <a:off x="4282280" y="3665933"/>
            <a:ext cx="7547769" cy="6935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27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тенге за 2022 год</a:t>
            </a:r>
          </a:p>
          <a:p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409 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тенге за 6 лет)</a:t>
            </a:r>
            <a:endParaRPr lang="ru-RU" sz="1400" b="1" dirty="0">
              <a:solidFill>
                <a:schemeClr val="tx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B186F88-5C8B-4474-909B-63CE87FB41DA}"/>
              </a:ext>
            </a:extLst>
          </p:cNvPr>
          <p:cNvSpPr/>
          <p:nvPr/>
        </p:nvSpPr>
        <p:spPr>
          <a:xfrm>
            <a:off x="472808" y="4992440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БСТВЕННЫЙ КАПИТАЛ 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F5D4E06B-17C7-4775-AC24-E24677D06401}"/>
              </a:ext>
            </a:extLst>
          </p:cNvPr>
          <p:cNvSpPr/>
          <p:nvPr/>
        </p:nvSpPr>
        <p:spPr>
          <a:xfrm>
            <a:off x="4291804" y="4986692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5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тенге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96E97EC-05D1-4AF4-BEEE-5452A958EACE}"/>
              </a:ext>
            </a:extLst>
          </p:cNvPr>
          <p:cNvSpPr/>
          <p:nvPr/>
        </p:nvSpPr>
        <p:spPr>
          <a:xfrm>
            <a:off x="472809" y="4411824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ИВЫ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874A45DD-CB99-414E-AD13-7FB9EE30C6B3}"/>
              </a:ext>
            </a:extLst>
          </p:cNvPr>
          <p:cNvSpPr/>
          <p:nvPr/>
        </p:nvSpPr>
        <p:spPr>
          <a:xfrm>
            <a:off x="4272754" y="4411824"/>
            <a:ext cx="7557295" cy="3629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356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 тенге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96E97EC-05D1-4AF4-BEEE-5452A958EACE}"/>
              </a:ext>
            </a:extLst>
          </p:cNvPr>
          <p:cNvSpPr/>
          <p:nvPr/>
        </p:nvSpPr>
        <p:spPr>
          <a:xfrm>
            <a:off x="472809" y="3250592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ИНАНСИРОВАНО ПРОЕКТОВ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61951" y="718758"/>
            <a:ext cx="11487150" cy="34377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 сентября 2020 года БРК-Лизинг переименован в </a:t>
            </a:r>
            <a:r>
              <a:rPr lang="ru-RU" b="1" dirty="0">
                <a:solidFill>
                  <a:srgbClr val="AE8705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 РАЗВИТИЯ ПРОМЫШЛЕННОСТИ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42897" y="1239604"/>
            <a:ext cx="11506204" cy="6786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7 декабря 2021 года принят Закон РК «О промышленной политике», в котором закреплены статус, цели и мандат </a:t>
            </a:r>
            <a:r>
              <a:rPr lang="ru-RU" b="1" dirty="0">
                <a:solidFill>
                  <a:srgbClr val="AE8705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РП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6E19E9B-72FC-4FB9-B7AF-12C40741C7AD}"/>
              </a:ext>
            </a:extLst>
          </p:cNvPr>
          <p:cNvSpPr/>
          <p:nvPr/>
        </p:nvSpPr>
        <p:spPr>
          <a:xfrm>
            <a:off x="342897" y="1946495"/>
            <a:ext cx="11334751" cy="36295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апреля 2022 года виды деятельности </a:t>
            </a:r>
            <a:r>
              <a:rPr lang="ru-RU" b="1" dirty="0">
                <a:solidFill>
                  <a:srgbClr val="AE8705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РП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ширены инструментом кредитования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6">
            <a:extLst>
              <a:ext uri="{FF2B5EF4-FFF2-40B4-BE49-F238E27FC236}">
                <a16:creationId xmlns:a16="http://schemas.microsoft.com/office/drawing/2014/main" id="{2EE413F8-4475-F675-F595-868CD267B757}"/>
              </a:ext>
            </a:extLst>
          </p:cNvPr>
          <p:cNvSpPr/>
          <p:nvPr/>
        </p:nvSpPr>
        <p:spPr>
          <a:xfrm>
            <a:off x="472808" y="5573056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НЫЙ РЕЙТИНГ</a:t>
            </a:r>
          </a:p>
        </p:txBody>
      </p:sp>
      <p:sp>
        <p:nvSpPr>
          <p:cNvPr id="5" name="Прямоугольник 39">
            <a:extLst>
              <a:ext uri="{FF2B5EF4-FFF2-40B4-BE49-F238E27FC236}">
                <a16:creationId xmlns:a16="http://schemas.microsoft.com/office/drawing/2014/main" id="{5687971E-36AC-AB25-C6AE-C913B2387CE6}"/>
              </a:ext>
            </a:extLst>
          </p:cNvPr>
          <p:cNvSpPr/>
          <p:nvPr/>
        </p:nvSpPr>
        <p:spPr>
          <a:xfrm>
            <a:off x="4282280" y="5534230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2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 увеличен в феврале 2023 года со стабильного до позитивного)</a:t>
            </a: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36">
            <a:extLst>
              <a:ext uri="{FF2B5EF4-FFF2-40B4-BE49-F238E27FC236}">
                <a16:creationId xmlns:a16="http://schemas.microsoft.com/office/drawing/2014/main" id="{CCD062FD-3F0D-A670-8B87-DEA9D9E08822}"/>
              </a:ext>
            </a:extLst>
          </p:cNvPr>
          <p:cNvSpPr/>
          <p:nvPr/>
        </p:nvSpPr>
        <p:spPr>
          <a:xfrm>
            <a:off x="472808" y="6153672"/>
            <a:ext cx="3482110" cy="362954"/>
          </a:xfrm>
          <a:prstGeom prst="rect">
            <a:avLst/>
          </a:prstGeom>
          <a:solidFill>
            <a:srgbClr val="AE870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ИСТАЯ ПРИБЫЛЬ</a:t>
            </a:r>
          </a:p>
        </p:txBody>
      </p:sp>
      <p:sp>
        <p:nvSpPr>
          <p:cNvPr id="7" name="Прямоугольник 39">
            <a:extLst>
              <a:ext uri="{FF2B5EF4-FFF2-40B4-BE49-F238E27FC236}">
                <a16:creationId xmlns:a16="http://schemas.microsoft.com/office/drawing/2014/main" id="{EE591BF2-F68F-1906-7D9B-04671BD715D8}"/>
              </a:ext>
            </a:extLst>
          </p:cNvPr>
          <p:cNvSpPr/>
          <p:nvPr/>
        </p:nvSpPr>
        <p:spPr>
          <a:xfrm>
            <a:off x="4291804" y="6153672"/>
            <a:ext cx="7784571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,4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тенге </a:t>
            </a:r>
            <a:r>
              <a:rPr lang="en-US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ируется выплата дивидендов в размере 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,2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лрд тенге)</a:t>
            </a:r>
          </a:p>
        </p:txBody>
      </p:sp>
      <p:cxnSp>
        <p:nvCxnSpPr>
          <p:cNvPr id="2" name="Прямая соединительная линия 34">
            <a:extLst>
              <a:ext uri="{FF2B5EF4-FFF2-40B4-BE49-F238E27FC236}">
                <a16:creationId xmlns:a16="http://schemas.microsoft.com/office/drawing/2014/main" id="{6C735590-99A8-9C28-CE47-E66831C6ADA2}"/>
              </a:ext>
            </a:extLst>
          </p:cNvPr>
          <p:cNvCxnSpPr/>
          <p:nvPr/>
        </p:nvCxnSpPr>
        <p:spPr>
          <a:xfrm>
            <a:off x="0" y="404664"/>
            <a:ext cx="10206108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0F49B046-6143-EC09-2A5B-1441BF8E33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56964" y="34060"/>
            <a:ext cx="609600" cy="685800"/>
          </a:xfrm>
          <a:prstGeom prst="rect">
            <a:avLst/>
          </a:prstGeom>
        </p:spPr>
      </p:pic>
      <p:cxnSp>
        <p:nvCxnSpPr>
          <p:cNvPr id="12" name="Прямая соединительная линия 36">
            <a:extLst>
              <a:ext uri="{FF2B5EF4-FFF2-40B4-BE49-F238E27FC236}">
                <a16:creationId xmlns:a16="http://schemas.microsoft.com/office/drawing/2014/main" id="{A5D7EA34-ED5E-D886-E75A-AD5CDA0C80E0}"/>
              </a:ext>
            </a:extLst>
          </p:cNvPr>
          <p:cNvCxnSpPr/>
          <p:nvPr/>
        </p:nvCxnSpPr>
        <p:spPr>
          <a:xfrm>
            <a:off x="10866564" y="404664"/>
            <a:ext cx="1325436" cy="0"/>
          </a:xfrm>
          <a:prstGeom prst="line">
            <a:avLst/>
          </a:prstGeom>
          <a:ln w="38100">
            <a:solidFill>
              <a:srgbClr val="B497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2053">
            <a:extLst>
              <a:ext uri="{FF2B5EF4-FFF2-40B4-BE49-F238E27FC236}">
                <a16:creationId xmlns:a16="http://schemas.microsoft.com/office/drawing/2014/main" id="{D12AE48A-A940-F8AA-A540-89D37A217FD7}"/>
              </a:ext>
            </a:extLst>
          </p:cNvPr>
          <p:cNvSpPr txBox="1">
            <a:spLocks/>
          </p:cNvSpPr>
          <p:nvPr/>
        </p:nvSpPr>
        <p:spPr>
          <a:xfrm>
            <a:off x="11496549" y="6466959"/>
            <a:ext cx="695400" cy="634449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dirty="0">
                <a:solidFill>
                  <a:srgbClr val="B4975A"/>
                </a:solidFill>
                <a:latin typeface="Arial Narrow" panose="020B0606020202030204" pitchFamily="34" charset="0"/>
                <a:ea typeface="BatangChe" panose="02030609000101010101" pitchFamily="49" charset="-127"/>
              </a:rPr>
              <a:t>9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231FEF8-DD3D-A94D-A65D-0B050423794C}"/>
              </a:ext>
            </a:extLst>
          </p:cNvPr>
          <p:cNvSpPr txBox="1">
            <a:spLocks/>
          </p:cNvSpPr>
          <p:nvPr/>
        </p:nvSpPr>
        <p:spPr>
          <a:xfrm>
            <a:off x="-3702" y="-3060"/>
            <a:ext cx="10363200" cy="45948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800" b="1" dirty="0">
                <a:latin typeface="Arial Narrow" panose="020B0606020202030204" pitchFamily="34" charset="0"/>
              </a:rPr>
              <a:t>КЛЮЧЕВЫЕ ДАННЫЕ ФРП ПО СОСТОЯНИЮ НА 31 ДЕКАБРЯ 2022 ГОДА</a:t>
            </a:r>
          </a:p>
        </p:txBody>
      </p:sp>
    </p:spTree>
    <p:extLst>
      <p:ext uri="{BB962C8B-B14F-4D97-AF65-F5344CB8AC3E}">
        <p14:creationId xmlns:p14="http://schemas.microsoft.com/office/powerpoint/2010/main" val="2903607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3.xml><?xml version="1.0" encoding="utf-8"?>
<a:theme xmlns:a="http://schemas.openxmlformats.org/drawingml/2006/main" name="1_2010_KFO035_CF1">
  <a:themeElements>
    <a:clrScheme name="Custom">
      <a:dk1>
        <a:srgbClr val="000000"/>
      </a:dk1>
      <a:lt1>
        <a:srgbClr val="FFFFFF"/>
      </a:lt1>
      <a:dk2>
        <a:srgbClr val="00863D"/>
      </a:dk2>
      <a:lt2>
        <a:srgbClr val="FFFFFF"/>
      </a:lt2>
      <a:accent1>
        <a:srgbClr val="E9DCB2"/>
      </a:accent1>
      <a:accent2>
        <a:srgbClr val="C6A175"/>
      </a:accent2>
      <a:accent3>
        <a:srgbClr val="639D2D"/>
      </a:accent3>
      <a:accent4>
        <a:srgbClr val="00A0AE"/>
      </a:accent4>
      <a:accent5>
        <a:srgbClr val="931610"/>
      </a:accent5>
      <a:accent6>
        <a:srgbClr val="808080"/>
      </a:accent6>
      <a:hlink>
        <a:srgbClr val="639D2D"/>
      </a:hlink>
      <a:folHlink>
        <a:srgbClr val="00A0A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863D"/>
        </a:dk2>
        <a:lt2>
          <a:srgbClr val="FFFFFF"/>
        </a:lt2>
        <a:accent1>
          <a:srgbClr val="E9DCB2"/>
        </a:accent1>
        <a:accent2>
          <a:srgbClr val="C6A175"/>
        </a:accent2>
        <a:accent3>
          <a:srgbClr val="639D2D"/>
        </a:accent3>
        <a:accent4>
          <a:srgbClr val="00A0AE"/>
        </a:accent4>
        <a:accent5>
          <a:srgbClr val="931610"/>
        </a:accent5>
        <a:accent6>
          <a:srgbClr val="808080"/>
        </a:accent6>
        <a:hlink>
          <a:srgbClr val="639D2D"/>
        </a:hlink>
        <a:folHlink>
          <a:srgbClr val="00A0A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0_Baseform.potx" id="{93A5F662-CB73-40B0-97B1-0C0B61126C50}" vid="{CD05ED03-F914-40EB-B475-7E28DEF9D7B3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020</TotalTime>
  <Words>1952</Words>
  <Application>Microsoft Office PowerPoint</Application>
  <PresentationFormat>Широкоэкранный</PresentationFormat>
  <Paragraphs>336</Paragraphs>
  <Slides>1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9" baseType="lpstr">
      <vt:lpstr>맑은 고딕</vt:lpstr>
      <vt:lpstr>ＭＳ Ｐゴシック</vt:lpstr>
      <vt:lpstr>Arial</vt:lpstr>
      <vt:lpstr>Arial Narrow</vt:lpstr>
      <vt:lpstr>BatangChe</vt:lpstr>
      <vt:lpstr>Calibri</vt:lpstr>
      <vt:lpstr>Century Gothic</vt:lpstr>
      <vt:lpstr>Georgia</vt:lpstr>
      <vt:lpstr>MV Boli</vt:lpstr>
      <vt:lpstr>Open Sans</vt:lpstr>
      <vt:lpstr>Tahoma</vt:lpstr>
      <vt:lpstr>Times New Roman</vt:lpstr>
      <vt:lpstr>Verdana</vt:lpstr>
      <vt:lpstr>Wingdings</vt:lpstr>
      <vt:lpstr>ヒラギノ角ゴ Pro W3</vt:lpstr>
      <vt:lpstr>Тема Office</vt:lpstr>
      <vt:lpstr>2010_KFO035_CF1</vt:lpstr>
      <vt:lpstr>1_2010_KFO035_CF1</vt:lpstr>
      <vt:lpstr>Слайд think-cell</vt:lpstr>
      <vt:lpstr>АО «Банк развития казахстана»</vt:lpstr>
      <vt:lpstr>Презентация PowerPoint</vt:lpstr>
      <vt:lpstr>РЕФОРМИРОВАНИЕ КРЕДИТНОЙ ДЕЯТЕЛЬНОСТИ БР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Бапинова Самал</cp:lastModifiedBy>
  <cp:revision>5509</cp:revision>
  <cp:lastPrinted>2023-05-02T14:25:36Z</cp:lastPrinted>
  <dcterms:created xsi:type="dcterms:W3CDTF">2014-01-08T14:39:53Z</dcterms:created>
  <dcterms:modified xsi:type="dcterms:W3CDTF">2023-05-05T07:27:47Z</dcterms:modified>
</cp:coreProperties>
</file>